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669" r:id="rId5"/>
    <p:sldMasterId id="2147483686" r:id="rId6"/>
    <p:sldMasterId id="2147483710" r:id="rId7"/>
  </p:sldMasterIdLst>
  <p:notesMasterIdLst>
    <p:notesMasterId r:id="rId17"/>
  </p:notesMasterIdLst>
  <p:sldIdLst>
    <p:sldId id="2179" r:id="rId8"/>
    <p:sldId id="557" r:id="rId9"/>
    <p:sldId id="2184" r:id="rId10"/>
    <p:sldId id="2181" r:id="rId11"/>
    <p:sldId id="2186" r:id="rId12"/>
    <p:sldId id="2185" r:id="rId13"/>
    <p:sldId id="2182" r:id="rId14"/>
    <p:sldId id="2183" r:id="rId15"/>
    <p:sldId id="2180"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B8D6"/>
    <a:srgbClr val="00C37B"/>
    <a:srgbClr val="95E616"/>
    <a:srgbClr val="0070AD"/>
    <a:srgbClr val="88D5ED"/>
    <a:srgbClr val="12ABDB"/>
    <a:srgbClr val="15636B"/>
    <a:srgbClr val="C8FF16"/>
    <a:srgbClr val="772A12"/>
    <a:srgbClr val="2B0A3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07CFE0-22F8-40C6-8392-4B1D4BCD9516}" v="2" dt="2020-06-30T12:32:24.182"/>
  </p1510:revLst>
</p1510:revInfo>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391" autoAdjust="0"/>
    <p:restoredTop sz="94249" autoAdjust="0"/>
  </p:normalViewPr>
  <p:slideViewPr>
    <p:cSldViewPr snapToGrid="0">
      <p:cViewPr varScale="1">
        <p:scale>
          <a:sx n="61" d="100"/>
          <a:sy n="61" d="100"/>
        </p:scale>
        <p:origin x="88" y="60"/>
      </p:cViewPr>
      <p:guideLst/>
    </p:cSldViewPr>
  </p:slideViewPr>
  <p:notesTextViewPr>
    <p:cViewPr>
      <p:scale>
        <a:sx n="1" d="1"/>
        <a:sy n="1" d="1"/>
      </p:scale>
      <p:origin x="0" y="0"/>
    </p:cViewPr>
  </p:notesTextViewPr>
  <p:sorterViewPr>
    <p:cViewPr varScale="1">
      <p:scale>
        <a:sx n="100" d="100"/>
        <a:sy n="100" d="100"/>
      </p:scale>
      <p:origin x="0" y="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7315DE-3581-4D70-AB5D-750CAEC44F13}" type="datetimeFigureOut">
              <a:rPr lang="en-IN" smtClean="0"/>
              <a:t>30-06-2020</a:t>
            </a:fld>
            <a:endParaRPr lang="en-IN"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27DC9E6-68C2-41D7-B6A4-99F4CAD4A89B}" type="slidenum">
              <a:rPr lang="en-IN" smtClean="0"/>
              <a:t>‹#›</a:t>
            </a:fld>
            <a:endParaRPr lang="en-IN" dirty="0"/>
          </a:p>
        </p:txBody>
      </p:sp>
    </p:spTree>
    <p:extLst>
      <p:ext uri="{BB962C8B-B14F-4D97-AF65-F5344CB8AC3E}">
        <p14:creationId xmlns:p14="http://schemas.microsoft.com/office/powerpoint/2010/main" val="42839511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63780890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3.emf"/><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oleObject" Target="../embeddings/oleObject2.bin"/><Relationship Id="rId5" Type="http://schemas.openxmlformats.org/officeDocument/2006/relationships/tags" Target="../tags/tag9.xml"/><Relationship Id="rId10" Type="http://schemas.openxmlformats.org/officeDocument/2006/relationships/image" Target="../media/image2.jpeg"/><Relationship Id="rId4" Type="http://schemas.openxmlformats.org/officeDocument/2006/relationships/tags" Target="../tags/tag8.xml"/><Relationship Id="rId9" Type="http://schemas.openxmlformats.org/officeDocument/2006/relationships/slideMaster" Target="../slideMasters/slideMaster1.xml"/><Relationship Id="rId1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6.svg"/><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3.png"/><Relationship Id="rId7" Type="http://schemas.openxmlformats.org/officeDocument/2006/relationships/image" Target="../media/image1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7.png"/><Relationship Id="rId5" Type="http://schemas.openxmlformats.org/officeDocument/2006/relationships/image" Target="../media/image14.png"/><Relationship Id="rId15" Type="http://schemas.openxmlformats.org/officeDocument/2006/relationships/image" Target="../media/image1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6.png"/><Relationship Id="rId14" Type="http://schemas.openxmlformats.org/officeDocument/2006/relationships/hyperlink" Target="http://www.capgemini.com/"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25.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vmlDrawing" Target="../drawings/vmlDrawing11.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5.v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1" y="1298342"/>
            <a:ext cx="12192000" cy="5533901"/>
          </a:xfrm>
          <a:prstGeom prst="rect">
            <a:avLst/>
          </a:prstGeom>
        </p:spPr>
      </p:pic>
      <p:sp>
        <p:nvSpPr>
          <p:cNvPr id="18" name="Rectangle 17"/>
          <p:cNvSpPr/>
          <p:nvPr userDrawn="1">
            <p:custDataLst>
              <p:tags r:id="rId2"/>
            </p:custDataLst>
          </p:nvPr>
        </p:nvSpPr>
        <p:spPr>
          <a:xfrm>
            <a:off x="1"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2525" y="1"/>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2053" name="think-cell Slide" r:id="rId11" imgW="360" imgH="360" progId="">
                  <p:embed/>
                </p:oleObj>
              </mc:Choice>
              <mc:Fallback>
                <p:oleObj name="think-cell Slide" r:id="rId11" imgW="360" imgH="360" progId="">
                  <p:embed/>
                  <p:pic>
                    <p:nvPicPr>
                      <p:cNvPr id="5" name="Object 4"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8820935" y="6505688"/>
            <a:ext cx="2982027" cy="247500"/>
          </a:xfrm>
          <a:prstGeom prst="rect">
            <a:avLst/>
          </a:prstGeom>
          <a:noFill/>
          <a:ln>
            <a:noFill/>
          </a:ln>
        </p:spPr>
      </p:pic>
      <p:sp>
        <p:nvSpPr>
          <p:cNvPr id="2" name="Title 1"/>
          <p:cNvSpPr>
            <a:spLocks noGrp="1"/>
          </p:cNvSpPr>
          <p:nvPr>
            <p:ph type="ctrTitle" hasCustomPrompt="1"/>
            <p:custDataLst>
              <p:tags r:id="rId6"/>
            </p:custDataLst>
          </p:nvPr>
        </p:nvSpPr>
        <p:spPr>
          <a:xfrm>
            <a:off x="0" y="2256613"/>
            <a:ext cx="5588533" cy="2261632"/>
          </a:xfrm>
        </p:spPr>
        <p:txBody>
          <a:bodyPr lIns="231412" tIns="33059" rIns="33059" bIns="33059"/>
          <a:lstStyle>
            <a:lvl1pPr algn="l">
              <a:lnSpc>
                <a:spcPct val="100000"/>
              </a:lnSpc>
              <a:defRPr sz="3300" b="0">
                <a:solidFill>
                  <a:schemeClr val="tx1"/>
                </a:solidFill>
                <a:latin typeface="+mn-lt"/>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0" y="4551798"/>
            <a:ext cx="5589207"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tretch>
            <a:fillRect/>
          </a:stretch>
        </p:blipFill>
        <p:spPr bwMode="auto">
          <a:xfrm>
            <a:off x="948441" y="653034"/>
            <a:ext cx="3239344" cy="762000"/>
          </a:xfrm>
          <a:prstGeom prst="rect">
            <a:avLst/>
          </a:prstGeom>
          <a:noFill/>
          <a:ln>
            <a:noFill/>
          </a:ln>
        </p:spPr>
      </p:pic>
    </p:spTree>
    <p:extLst>
      <p:ext uri="{BB962C8B-B14F-4D97-AF65-F5344CB8AC3E}">
        <p14:creationId xmlns:p14="http://schemas.microsoft.com/office/powerpoint/2010/main" val="1694703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9" name="Retângulo 43">
            <a:extLst>
              <a:ext uri="{FF2B5EF4-FFF2-40B4-BE49-F238E27FC236}">
                <a16:creationId xmlns:a16="http://schemas.microsoft.com/office/drawing/2014/main" id="{4FCEE08C-7A7E-47F6-9650-21A3DF15F1C1}"/>
              </a:ext>
            </a:extLst>
          </p:cNvPr>
          <p:cNvSpPr/>
          <p:nvPr userDrawn="1"/>
        </p:nvSpPr>
        <p:spPr>
          <a:xfrm>
            <a:off x="11791944" y="6542443"/>
            <a:ext cx="314509" cy="215444"/>
          </a:xfrm>
          <a:prstGeom prst="rect">
            <a:avLst/>
          </a:prstGeom>
        </p:spPr>
        <p:txBody>
          <a:bodyPr wrap="none">
            <a:spAutoFit/>
          </a:bodyPr>
          <a:lstStyle/>
          <a:p>
            <a:pPr algn="r"/>
            <a:fld id="{0502E5A9-B53C-401E-A0E0-4A359BB0A9E5}" type="slidenum">
              <a:rPr lang="en-US" sz="800" smtClean="0">
                <a:solidFill>
                  <a:schemeClr val="tx1"/>
                </a:solidFill>
                <a:latin typeface="Ubuntu" panose="020B0504030602030204" pitchFamily="34" charset="0"/>
                <a:cs typeface="Arial" panose="020B0604020202020204" pitchFamily="34" charset="0"/>
              </a:rPr>
              <a:t>‹#›</a:t>
            </a:fld>
            <a:endParaRPr lang="en-US" sz="800" dirty="0">
              <a:solidFill>
                <a:schemeClr val="tx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38802755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tângulo 43">
            <a:extLst>
              <a:ext uri="{FF2B5EF4-FFF2-40B4-BE49-F238E27FC236}">
                <a16:creationId xmlns:a16="http://schemas.microsoft.com/office/drawing/2014/main" id="{9BAFB48E-EE62-4243-92F2-3829851235B3}"/>
              </a:ext>
            </a:extLst>
          </p:cNvPr>
          <p:cNvSpPr/>
          <p:nvPr userDrawn="1"/>
        </p:nvSpPr>
        <p:spPr>
          <a:xfrm>
            <a:off x="11791944" y="6542443"/>
            <a:ext cx="314509" cy="215444"/>
          </a:xfrm>
          <a:prstGeom prst="rect">
            <a:avLst/>
          </a:prstGeom>
        </p:spPr>
        <p:txBody>
          <a:bodyPr wrap="none">
            <a:spAutoFit/>
          </a:bodyPr>
          <a:lstStyle/>
          <a:p>
            <a:pPr algn="r"/>
            <a:fld id="{0502E5A9-B53C-401E-A0E0-4A359BB0A9E5}" type="slidenum">
              <a:rPr lang="en-US" sz="800" smtClean="0">
                <a:solidFill>
                  <a:schemeClr val="tx1"/>
                </a:solidFill>
                <a:latin typeface="Ubuntu" panose="020B0504030602030204" pitchFamily="34" charset="0"/>
                <a:cs typeface="Arial" panose="020B0604020202020204" pitchFamily="34" charset="0"/>
              </a:rPr>
              <a:t>‹#›</a:t>
            </a:fld>
            <a:endParaRPr lang="en-US" sz="800" dirty="0">
              <a:solidFill>
                <a:schemeClr val="tx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7303700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280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412875"/>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814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78079"/>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78079"/>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66247"/>
            <a:ext cx="5543550" cy="412363"/>
          </a:xfrm>
          <a:prstGeom prst="rect">
            <a:avLst/>
          </a:prstGeom>
          <a:noFill/>
        </p:spPr>
        <p:txBody>
          <a:bodyPr anchor="b">
            <a:noAutofit/>
          </a:bodyPr>
          <a:lstStyle>
            <a:lvl1pPr algn="l">
              <a:lnSpc>
                <a:spcPts val="1800"/>
              </a:lnSpc>
              <a:defRPr sz="1600" b="0">
                <a:solidFill>
                  <a:schemeClr val="accent2"/>
                </a:solidFill>
              </a:defRPr>
            </a:lvl1pPr>
            <a:lvl2pPr>
              <a:defRPr sz="1400"/>
            </a:lvl2pPr>
            <a:lvl3pPr>
              <a:defRPr sz="1200"/>
            </a:lvl3pPr>
            <a:lvl4pPr>
              <a:defRPr sz="1100"/>
            </a:lvl4pPr>
            <a:lvl5pPr>
              <a:defRPr sz="1100"/>
            </a:lvl5pPr>
          </a:lstStyle>
          <a:p>
            <a:pPr lvl="0"/>
            <a:r>
              <a:rPr lang="en-US" dirty="0"/>
              <a:t>Click to insert chart title</a:t>
            </a:r>
          </a:p>
        </p:txBody>
      </p:sp>
      <p:sp>
        <p:nvSpPr>
          <p:cNvPr id="19" name="Retângulo 43">
            <a:extLst>
              <a:ext uri="{FF2B5EF4-FFF2-40B4-BE49-F238E27FC236}">
                <a16:creationId xmlns:a16="http://schemas.microsoft.com/office/drawing/2014/main" id="{25461621-9C84-4DD7-A5B7-F49B6ADE1ED8}"/>
              </a:ext>
            </a:extLst>
          </p:cNvPr>
          <p:cNvSpPr/>
          <p:nvPr userDrawn="1"/>
        </p:nvSpPr>
        <p:spPr>
          <a:xfrm>
            <a:off x="11791944" y="6542443"/>
            <a:ext cx="314509" cy="215444"/>
          </a:xfrm>
          <a:prstGeom prst="rect">
            <a:avLst/>
          </a:prstGeom>
        </p:spPr>
        <p:txBody>
          <a:bodyPr wrap="none">
            <a:spAutoFit/>
          </a:bodyPr>
          <a:lstStyle/>
          <a:p>
            <a:pPr algn="r"/>
            <a:fld id="{0502E5A9-B53C-401E-A0E0-4A359BB0A9E5}" type="slidenum">
              <a:rPr lang="en-US" sz="800" smtClean="0">
                <a:solidFill>
                  <a:schemeClr val="tx1"/>
                </a:solidFill>
                <a:latin typeface="Ubuntu" panose="020B0504030602030204" pitchFamily="34" charset="0"/>
                <a:cs typeface="Arial" panose="020B0604020202020204" pitchFamily="34" charset="0"/>
              </a:rPr>
              <a:t>‹#›</a:t>
            </a:fld>
            <a:endParaRPr lang="en-US" sz="800" dirty="0">
              <a:solidFill>
                <a:schemeClr val="tx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3597113187"/>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5" name="Retângulo 43">
            <a:extLst>
              <a:ext uri="{FF2B5EF4-FFF2-40B4-BE49-F238E27FC236}">
                <a16:creationId xmlns:a16="http://schemas.microsoft.com/office/drawing/2014/main" id="{5D0DE0FF-1974-418F-BF97-E5F771C5A912}"/>
              </a:ext>
            </a:extLst>
          </p:cNvPr>
          <p:cNvSpPr/>
          <p:nvPr userDrawn="1"/>
        </p:nvSpPr>
        <p:spPr>
          <a:xfrm>
            <a:off x="11791944" y="6542443"/>
            <a:ext cx="314509" cy="215444"/>
          </a:xfrm>
          <a:prstGeom prst="rect">
            <a:avLst/>
          </a:prstGeom>
        </p:spPr>
        <p:txBody>
          <a:bodyPr wrap="none">
            <a:spAutoFit/>
          </a:bodyPr>
          <a:lstStyle/>
          <a:p>
            <a:pPr algn="r"/>
            <a:fld id="{0502E5A9-B53C-401E-A0E0-4A359BB0A9E5}" type="slidenum">
              <a:rPr lang="en-US" sz="800" smtClean="0">
                <a:solidFill>
                  <a:schemeClr val="tx1"/>
                </a:solidFill>
                <a:latin typeface="Ubuntu" panose="020B0504030602030204" pitchFamily="34" charset="0"/>
                <a:cs typeface="Arial" panose="020B0604020202020204" pitchFamily="34" charset="0"/>
              </a:rPr>
              <a:t>‹#›</a:t>
            </a:fld>
            <a:endParaRPr lang="en-US" sz="800" dirty="0">
              <a:solidFill>
                <a:schemeClr val="tx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31464820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Retângulo 43">
            <a:extLst>
              <a:ext uri="{FF2B5EF4-FFF2-40B4-BE49-F238E27FC236}">
                <a16:creationId xmlns:a16="http://schemas.microsoft.com/office/drawing/2014/main" id="{336A90E2-2E39-4173-A38B-AE17AA2E9740}"/>
              </a:ext>
            </a:extLst>
          </p:cNvPr>
          <p:cNvSpPr/>
          <p:nvPr userDrawn="1"/>
        </p:nvSpPr>
        <p:spPr>
          <a:xfrm>
            <a:off x="11791944" y="6542443"/>
            <a:ext cx="314509" cy="215444"/>
          </a:xfrm>
          <a:prstGeom prst="rect">
            <a:avLst/>
          </a:prstGeom>
        </p:spPr>
        <p:txBody>
          <a:bodyPr wrap="none">
            <a:spAutoFit/>
          </a:bodyPr>
          <a:lstStyle/>
          <a:p>
            <a:pPr algn="r"/>
            <a:fld id="{0502E5A9-B53C-401E-A0E0-4A359BB0A9E5}" type="slidenum">
              <a:rPr lang="en-US" sz="800" smtClean="0">
                <a:solidFill>
                  <a:schemeClr val="tx1"/>
                </a:solidFill>
                <a:latin typeface="Ubuntu" panose="020B0504030602030204" pitchFamily="34" charset="0"/>
                <a:cs typeface="Arial" panose="020B0604020202020204" pitchFamily="34" charset="0"/>
              </a:rPr>
              <a:t>‹#›</a:t>
            </a:fld>
            <a:endParaRPr lang="en-US" sz="800" dirty="0">
              <a:solidFill>
                <a:schemeClr val="tx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32261140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28" name="Retângulo 43">
            <a:extLst>
              <a:ext uri="{FF2B5EF4-FFF2-40B4-BE49-F238E27FC236}">
                <a16:creationId xmlns:a16="http://schemas.microsoft.com/office/drawing/2014/main" id="{D3372132-CDA2-485C-95F5-3421C19CB0DD}"/>
              </a:ext>
            </a:extLst>
          </p:cNvPr>
          <p:cNvSpPr/>
          <p:nvPr userDrawn="1"/>
        </p:nvSpPr>
        <p:spPr>
          <a:xfrm>
            <a:off x="11791944" y="6542443"/>
            <a:ext cx="314509" cy="215444"/>
          </a:xfrm>
          <a:prstGeom prst="rect">
            <a:avLst/>
          </a:prstGeom>
        </p:spPr>
        <p:txBody>
          <a:bodyPr wrap="none">
            <a:spAutoFit/>
          </a:bodyPr>
          <a:lstStyle/>
          <a:p>
            <a:pPr algn="r"/>
            <a:fld id="{0502E5A9-B53C-401E-A0E0-4A359BB0A9E5}" type="slidenum">
              <a:rPr lang="en-US" sz="800" smtClean="0">
                <a:solidFill>
                  <a:schemeClr val="tx1"/>
                </a:solidFill>
                <a:latin typeface="Ubuntu" panose="020B0504030602030204" pitchFamily="34" charset="0"/>
                <a:cs typeface="Arial" panose="020B0604020202020204" pitchFamily="34" charset="0"/>
              </a:rPr>
              <a:t>‹#›</a:t>
            </a:fld>
            <a:endParaRPr lang="en-US" sz="800" dirty="0">
              <a:solidFill>
                <a:schemeClr val="tx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1906696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823521" y="-1667562"/>
            <a:ext cx="1706401" cy="5030555"/>
          </a:xfrm>
          <a:prstGeom prst="rect">
            <a:avLst/>
          </a:prstGeom>
        </p:spPr>
      </p:pic>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dirty="0"/>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pic>
        <p:nvPicPr>
          <p:cNvPr id="15" name="Graphic 14">
            <a:extLst>
              <a:ext uri="{FF2B5EF4-FFF2-40B4-BE49-F238E27FC236}">
                <a16:creationId xmlns:a16="http://schemas.microsoft.com/office/drawing/2014/main" id="{CA70D5E4-F0EE-4368-A09C-60021E85A04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491419" y="164829"/>
            <a:ext cx="424356" cy="459624"/>
          </a:xfrm>
          <a:prstGeom prst="rect">
            <a:avLst/>
          </a:prstGeom>
        </p:spPr>
      </p:pic>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Retângulo 43">
            <a:extLst>
              <a:ext uri="{FF2B5EF4-FFF2-40B4-BE49-F238E27FC236}">
                <a16:creationId xmlns:a16="http://schemas.microsoft.com/office/drawing/2014/main" id="{7543E978-F7F9-48C6-A669-E055DA3B26C2}"/>
              </a:ext>
            </a:extLst>
          </p:cNvPr>
          <p:cNvSpPr/>
          <p:nvPr userDrawn="1"/>
        </p:nvSpPr>
        <p:spPr>
          <a:xfrm>
            <a:off x="11791944" y="6542443"/>
            <a:ext cx="314509" cy="215444"/>
          </a:xfrm>
          <a:prstGeom prst="rect">
            <a:avLst/>
          </a:prstGeom>
        </p:spPr>
        <p:txBody>
          <a:bodyPr wrap="none">
            <a:spAutoFit/>
          </a:bodyPr>
          <a:lstStyle/>
          <a:p>
            <a:pPr algn="r"/>
            <a:fld id="{0502E5A9-B53C-401E-A0E0-4A359BB0A9E5}" type="slidenum">
              <a:rPr lang="en-US" sz="800" smtClean="0">
                <a:solidFill>
                  <a:schemeClr val="tx1"/>
                </a:solidFill>
                <a:latin typeface="Ubuntu" panose="020B0504030602030204" pitchFamily="34" charset="0"/>
                <a:cs typeface="Arial" panose="020B0604020202020204" pitchFamily="34" charset="0"/>
              </a:rPr>
              <a:t>‹#›</a:t>
            </a:fld>
            <a:endParaRPr lang="en-US" sz="800" dirty="0">
              <a:solidFill>
                <a:schemeClr val="tx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4033947501"/>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41" name="Oval 20">
            <a:extLst>
              <a:ext uri="{FF2B5EF4-FFF2-40B4-BE49-F238E27FC236}">
                <a16:creationId xmlns:a16="http://schemas.microsoft.com/office/drawing/2014/main" id="{ADB39E78-E9B7-40CD-9999-E8302C610DC2}"/>
              </a:ext>
            </a:extLst>
          </p:cNvPr>
          <p:cNvSpPr/>
          <p:nvPr userDrawn="1"/>
        </p:nvSpPr>
        <p:spPr>
          <a:xfrm>
            <a:off x="5563594" y="47340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80DEC651-0810-4FD4-A2CA-C54974433D45}"/>
              </a:ext>
            </a:extLst>
          </p:cNvPr>
          <p:cNvSpPr/>
          <p:nvPr userDrawn="1"/>
        </p:nvSpPr>
        <p:spPr>
          <a:xfrm>
            <a:off x="5563595" y="2944149"/>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3" name="Oval 20">
            <a:extLst>
              <a:ext uri="{FF2B5EF4-FFF2-40B4-BE49-F238E27FC236}">
                <a16:creationId xmlns:a16="http://schemas.microsoft.com/office/drawing/2014/main" id="{4F0142AD-298C-4A60-9F24-035D4F3F07D0}"/>
              </a:ext>
            </a:extLst>
          </p:cNvPr>
          <p:cNvSpPr/>
          <p:nvPr userDrawn="1"/>
        </p:nvSpPr>
        <p:spPr>
          <a:xfrm>
            <a:off x="5516146" y="118605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510401" y="-999749"/>
            <a:ext cx="4694967" cy="4418573"/>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4"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525457"/>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5"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3284120"/>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6"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061942"/>
            <a:ext cx="863263" cy="482705"/>
          </a:xfrm>
          <a:prstGeom prst="rect">
            <a:avLst/>
          </a:prstGeom>
          <a:noFill/>
        </p:spPr>
        <p:txBody>
          <a:bodyPr anchor="ctr">
            <a:noAutofit/>
          </a:bodyPr>
          <a:lstStyle>
            <a:lvl1pPr algn="ctr">
              <a:lnSpc>
                <a:spcPts val="3000"/>
              </a:lnSpc>
              <a:defRPr sz="2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47518836"/>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6" name="Retângulo 43">
            <a:extLst>
              <a:ext uri="{FF2B5EF4-FFF2-40B4-BE49-F238E27FC236}">
                <a16:creationId xmlns:a16="http://schemas.microsoft.com/office/drawing/2014/main" id="{264C11D2-723B-40F3-8B65-5A2861C2838A}"/>
              </a:ext>
            </a:extLst>
          </p:cNvPr>
          <p:cNvSpPr/>
          <p:nvPr userDrawn="1"/>
        </p:nvSpPr>
        <p:spPr>
          <a:xfrm>
            <a:off x="11791944" y="6542443"/>
            <a:ext cx="314509" cy="215444"/>
          </a:xfrm>
          <a:prstGeom prst="rect">
            <a:avLst/>
          </a:prstGeom>
        </p:spPr>
        <p:txBody>
          <a:bodyPr wrap="none">
            <a:spAutoFit/>
          </a:bodyPr>
          <a:lstStyle/>
          <a:p>
            <a:pPr algn="r"/>
            <a:fld id="{0502E5A9-B53C-401E-A0E0-4A359BB0A9E5}" type="slidenum">
              <a:rPr lang="en-US" sz="800" smtClean="0">
                <a:solidFill>
                  <a:schemeClr val="tx1"/>
                </a:solidFill>
                <a:latin typeface="Ubuntu" panose="020B0504030602030204" pitchFamily="34" charset="0"/>
                <a:cs typeface="Arial" panose="020B0604020202020204" pitchFamily="34" charset="0"/>
              </a:rPr>
              <a:t>‹#›</a:t>
            </a:fld>
            <a:endParaRPr lang="en-US" sz="800" dirty="0">
              <a:solidFill>
                <a:schemeClr val="tx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21788541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1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33959197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80998" cy="143985"/>
        </p:xfrm>
        <a:graphic>
          <a:graphicData uri="http://schemas.openxmlformats.org/presentationml/2006/ole">
            <mc:AlternateContent xmlns:mc="http://schemas.openxmlformats.org/markup-compatibility/2006">
              <mc:Choice xmlns:v="urn:schemas-microsoft-com:vml" Requires="v">
                <p:oleObj spid="_x0000_s3077"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2"/>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8" name="Content Placeholder 7"/>
          <p:cNvSpPr>
            <a:spLocks noGrp="1"/>
          </p:cNvSpPr>
          <p:nvPr>
            <p:ph sz="quarter" idx="10"/>
          </p:nvPr>
        </p:nvSpPr>
        <p:spPr>
          <a:xfrm>
            <a:off x="390771" y="1511300"/>
            <a:ext cx="11406552" cy="45847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Retângulo 43">
            <a:extLst>
              <a:ext uri="{FF2B5EF4-FFF2-40B4-BE49-F238E27FC236}">
                <a16:creationId xmlns:a16="http://schemas.microsoft.com/office/drawing/2014/main" id="{CB9261F6-ADA2-4335-8571-2EE73472D1DE}"/>
              </a:ext>
            </a:extLst>
          </p:cNvPr>
          <p:cNvSpPr/>
          <p:nvPr userDrawn="1"/>
        </p:nvSpPr>
        <p:spPr>
          <a:xfrm>
            <a:off x="11791944" y="6542443"/>
            <a:ext cx="314509" cy="215444"/>
          </a:xfrm>
          <a:prstGeom prst="rect">
            <a:avLst/>
          </a:prstGeom>
        </p:spPr>
        <p:txBody>
          <a:bodyPr wrap="none">
            <a:spAutoFit/>
          </a:bodyPr>
          <a:lstStyle/>
          <a:p>
            <a:pPr algn="r"/>
            <a:fld id="{0502E5A9-B53C-401E-A0E0-4A359BB0A9E5}" type="slidenum">
              <a:rPr lang="en-US" sz="800" smtClean="0">
                <a:solidFill>
                  <a:schemeClr val="tx1"/>
                </a:solidFill>
                <a:latin typeface="Ubuntu" panose="020B0504030602030204" pitchFamily="34" charset="0"/>
                <a:cs typeface="Arial" panose="020B0604020202020204" pitchFamily="34" charset="0"/>
              </a:rPr>
              <a:t>‹#›</a:t>
            </a:fld>
            <a:endParaRPr lang="en-US" sz="800" dirty="0">
              <a:solidFill>
                <a:schemeClr val="tx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14895965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3"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dirty="0"/>
              <a:t>Click to edit Master title style</a:t>
            </a:r>
            <a:endParaRPr lang="en-GB" dirty="0"/>
          </a:p>
        </p:txBody>
      </p:sp>
      <p:sp>
        <p:nvSpPr>
          <p:cNvPr id="4" name="Retângulo 43">
            <a:extLst>
              <a:ext uri="{FF2B5EF4-FFF2-40B4-BE49-F238E27FC236}">
                <a16:creationId xmlns:a16="http://schemas.microsoft.com/office/drawing/2014/main" id="{C8091580-F06C-417C-A664-0EABC9082F9D}"/>
              </a:ext>
            </a:extLst>
          </p:cNvPr>
          <p:cNvSpPr/>
          <p:nvPr userDrawn="1"/>
        </p:nvSpPr>
        <p:spPr>
          <a:xfrm>
            <a:off x="11791944" y="6542443"/>
            <a:ext cx="314509" cy="215444"/>
          </a:xfrm>
          <a:prstGeom prst="rect">
            <a:avLst/>
          </a:prstGeom>
        </p:spPr>
        <p:txBody>
          <a:bodyPr wrap="none">
            <a:spAutoFit/>
          </a:bodyPr>
          <a:lstStyle/>
          <a:p>
            <a:pPr algn="r"/>
            <a:fld id="{0502E5A9-B53C-401E-A0E0-4A359BB0A9E5}" type="slidenum">
              <a:rPr lang="en-US" sz="800" smtClean="0">
                <a:solidFill>
                  <a:schemeClr val="tx1"/>
                </a:solidFill>
                <a:latin typeface="Ubuntu" panose="020B0504030602030204" pitchFamily="34" charset="0"/>
                <a:cs typeface="Arial" panose="020B0604020202020204" pitchFamily="34" charset="0"/>
              </a:rPr>
              <a:t>‹#›</a:t>
            </a:fld>
            <a:endParaRPr lang="en-US" sz="800" dirty="0">
              <a:solidFill>
                <a:schemeClr val="tx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36452787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reeform 31"/>
          <p:cNvSpPr>
            <a:spLocks/>
          </p:cNvSpPr>
          <p:nvPr userDrawn="1"/>
        </p:nvSpPr>
        <p:spPr bwMode="auto">
          <a:xfrm>
            <a:off x="8348107" y="5803859"/>
            <a:ext cx="607159" cy="1059577"/>
          </a:xfrm>
          <a:custGeom>
            <a:avLst/>
            <a:gdLst/>
            <a:ahLst/>
            <a:cxnLst>
              <a:cxn ang="0">
                <a:pos x="0" y="342"/>
              </a:cxn>
              <a:cxn ang="0">
                <a:pos x="171" y="342"/>
              </a:cxn>
              <a:cxn ang="0">
                <a:pos x="173" y="231"/>
              </a:cxn>
              <a:cxn ang="0">
                <a:pos x="190" y="194"/>
              </a:cxn>
              <a:cxn ang="0">
                <a:pos x="191" y="156"/>
              </a:cxn>
              <a:cxn ang="0">
                <a:pos x="172" y="140"/>
              </a:cxn>
              <a:cxn ang="0">
                <a:pos x="164" y="138"/>
              </a:cxn>
              <a:cxn ang="0">
                <a:pos x="150" y="126"/>
              </a:cxn>
              <a:cxn ang="0">
                <a:pos x="143" y="113"/>
              </a:cxn>
              <a:cxn ang="0">
                <a:pos x="139" y="111"/>
              </a:cxn>
              <a:cxn ang="0">
                <a:pos x="132" y="113"/>
              </a:cxn>
              <a:cxn ang="0">
                <a:pos x="130" y="108"/>
              </a:cxn>
              <a:cxn ang="0">
                <a:pos x="129" y="104"/>
              </a:cxn>
              <a:cxn ang="0">
                <a:pos x="132" y="98"/>
              </a:cxn>
              <a:cxn ang="0">
                <a:pos x="88" y="0"/>
              </a:cxn>
              <a:cxn ang="0">
                <a:pos x="40" y="27"/>
              </a:cxn>
              <a:cxn ang="0">
                <a:pos x="41" y="42"/>
              </a:cxn>
              <a:cxn ang="0">
                <a:pos x="43" y="39"/>
              </a:cxn>
              <a:cxn ang="0">
                <a:pos x="43" y="46"/>
              </a:cxn>
              <a:cxn ang="0">
                <a:pos x="40" y="59"/>
              </a:cxn>
              <a:cxn ang="0">
                <a:pos x="44" y="67"/>
              </a:cxn>
              <a:cxn ang="0">
                <a:pos x="40" y="80"/>
              </a:cxn>
              <a:cxn ang="0">
                <a:pos x="40" y="88"/>
              </a:cxn>
              <a:cxn ang="0">
                <a:pos x="46" y="91"/>
              </a:cxn>
              <a:cxn ang="0">
                <a:pos x="45" y="99"/>
              </a:cxn>
              <a:cxn ang="0">
                <a:pos x="48" y="102"/>
              </a:cxn>
              <a:cxn ang="0">
                <a:pos x="45" y="104"/>
              </a:cxn>
              <a:cxn ang="0">
                <a:pos x="47" y="108"/>
              </a:cxn>
              <a:cxn ang="0">
                <a:pos x="45" y="111"/>
              </a:cxn>
              <a:cxn ang="0">
                <a:pos x="45" y="123"/>
              </a:cxn>
              <a:cxn ang="0">
                <a:pos x="50" y="127"/>
              </a:cxn>
              <a:cxn ang="0">
                <a:pos x="53" y="127"/>
              </a:cxn>
              <a:cxn ang="0">
                <a:pos x="54" y="133"/>
              </a:cxn>
              <a:cxn ang="0">
                <a:pos x="41" y="142"/>
              </a:cxn>
              <a:cxn ang="0">
                <a:pos x="42" y="150"/>
              </a:cxn>
              <a:cxn ang="0">
                <a:pos x="49" y="161"/>
              </a:cxn>
              <a:cxn ang="0">
                <a:pos x="38" y="172"/>
              </a:cxn>
              <a:cxn ang="0">
                <a:pos x="11" y="219"/>
              </a:cxn>
              <a:cxn ang="0">
                <a:pos x="3" y="247"/>
              </a:cxn>
              <a:cxn ang="0">
                <a:pos x="0" y="342"/>
              </a:cxn>
            </a:cxnLst>
            <a:rect l="0" t="0" r="r" b="b"/>
            <a:pathLst>
              <a:path w="196" h="342">
                <a:moveTo>
                  <a:pt x="0" y="342"/>
                </a:moveTo>
                <a:cubicBezTo>
                  <a:pt x="171" y="342"/>
                  <a:pt x="171" y="342"/>
                  <a:pt x="171" y="342"/>
                </a:cubicBezTo>
                <a:cubicBezTo>
                  <a:pt x="171" y="288"/>
                  <a:pt x="172" y="234"/>
                  <a:pt x="173" y="231"/>
                </a:cubicBezTo>
                <a:cubicBezTo>
                  <a:pt x="176" y="225"/>
                  <a:pt x="184" y="212"/>
                  <a:pt x="190" y="194"/>
                </a:cubicBezTo>
                <a:cubicBezTo>
                  <a:pt x="196" y="176"/>
                  <a:pt x="193" y="167"/>
                  <a:pt x="191" y="156"/>
                </a:cubicBezTo>
                <a:cubicBezTo>
                  <a:pt x="189" y="145"/>
                  <a:pt x="177" y="140"/>
                  <a:pt x="172" y="140"/>
                </a:cubicBezTo>
                <a:cubicBezTo>
                  <a:pt x="168" y="140"/>
                  <a:pt x="166" y="139"/>
                  <a:pt x="164" y="138"/>
                </a:cubicBezTo>
                <a:cubicBezTo>
                  <a:pt x="162" y="137"/>
                  <a:pt x="151" y="127"/>
                  <a:pt x="150" y="126"/>
                </a:cubicBezTo>
                <a:cubicBezTo>
                  <a:pt x="149" y="126"/>
                  <a:pt x="145" y="117"/>
                  <a:pt x="143" y="113"/>
                </a:cubicBezTo>
                <a:cubicBezTo>
                  <a:pt x="142" y="110"/>
                  <a:pt x="141" y="110"/>
                  <a:pt x="139" y="111"/>
                </a:cubicBezTo>
                <a:cubicBezTo>
                  <a:pt x="138" y="113"/>
                  <a:pt x="133" y="114"/>
                  <a:pt x="132" y="113"/>
                </a:cubicBezTo>
                <a:cubicBezTo>
                  <a:pt x="132" y="112"/>
                  <a:pt x="130" y="108"/>
                  <a:pt x="130" y="108"/>
                </a:cubicBezTo>
                <a:cubicBezTo>
                  <a:pt x="130" y="108"/>
                  <a:pt x="128" y="105"/>
                  <a:pt x="129" y="104"/>
                </a:cubicBezTo>
                <a:cubicBezTo>
                  <a:pt x="130" y="103"/>
                  <a:pt x="132" y="98"/>
                  <a:pt x="132" y="98"/>
                </a:cubicBezTo>
                <a:cubicBezTo>
                  <a:pt x="157" y="46"/>
                  <a:pt x="152" y="1"/>
                  <a:pt x="88" y="0"/>
                </a:cubicBezTo>
                <a:cubicBezTo>
                  <a:pt x="54" y="0"/>
                  <a:pt x="41" y="22"/>
                  <a:pt x="40" y="27"/>
                </a:cubicBezTo>
                <a:cubicBezTo>
                  <a:pt x="39" y="31"/>
                  <a:pt x="40" y="43"/>
                  <a:pt x="41" y="42"/>
                </a:cubicBezTo>
                <a:cubicBezTo>
                  <a:pt x="41" y="41"/>
                  <a:pt x="43" y="39"/>
                  <a:pt x="43" y="39"/>
                </a:cubicBezTo>
                <a:cubicBezTo>
                  <a:pt x="43" y="39"/>
                  <a:pt x="44" y="42"/>
                  <a:pt x="43" y="46"/>
                </a:cubicBezTo>
                <a:cubicBezTo>
                  <a:pt x="43" y="49"/>
                  <a:pt x="40" y="58"/>
                  <a:pt x="40" y="59"/>
                </a:cubicBezTo>
                <a:cubicBezTo>
                  <a:pt x="40" y="61"/>
                  <a:pt x="42" y="63"/>
                  <a:pt x="44" y="67"/>
                </a:cubicBezTo>
                <a:cubicBezTo>
                  <a:pt x="46" y="72"/>
                  <a:pt x="42" y="77"/>
                  <a:pt x="40" y="80"/>
                </a:cubicBezTo>
                <a:cubicBezTo>
                  <a:pt x="39" y="84"/>
                  <a:pt x="38" y="85"/>
                  <a:pt x="40" y="88"/>
                </a:cubicBezTo>
                <a:cubicBezTo>
                  <a:pt x="41" y="91"/>
                  <a:pt x="46" y="90"/>
                  <a:pt x="46" y="91"/>
                </a:cubicBezTo>
                <a:cubicBezTo>
                  <a:pt x="46" y="92"/>
                  <a:pt x="45" y="96"/>
                  <a:pt x="45" y="99"/>
                </a:cubicBezTo>
                <a:cubicBezTo>
                  <a:pt x="46" y="101"/>
                  <a:pt x="48" y="102"/>
                  <a:pt x="48" y="102"/>
                </a:cubicBezTo>
                <a:cubicBezTo>
                  <a:pt x="48" y="102"/>
                  <a:pt x="45" y="103"/>
                  <a:pt x="45" y="104"/>
                </a:cubicBezTo>
                <a:cubicBezTo>
                  <a:pt x="46" y="106"/>
                  <a:pt x="47" y="108"/>
                  <a:pt x="47" y="108"/>
                </a:cubicBezTo>
                <a:cubicBezTo>
                  <a:pt x="47" y="108"/>
                  <a:pt x="46" y="109"/>
                  <a:pt x="45" y="111"/>
                </a:cubicBezTo>
                <a:cubicBezTo>
                  <a:pt x="44" y="112"/>
                  <a:pt x="45" y="117"/>
                  <a:pt x="45" y="123"/>
                </a:cubicBezTo>
                <a:cubicBezTo>
                  <a:pt x="45" y="129"/>
                  <a:pt x="48" y="127"/>
                  <a:pt x="50" y="127"/>
                </a:cubicBezTo>
                <a:cubicBezTo>
                  <a:pt x="52" y="128"/>
                  <a:pt x="53" y="126"/>
                  <a:pt x="53" y="127"/>
                </a:cubicBezTo>
                <a:cubicBezTo>
                  <a:pt x="53" y="128"/>
                  <a:pt x="54" y="133"/>
                  <a:pt x="54" y="133"/>
                </a:cubicBezTo>
                <a:cubicBezTo>
                  <a:pt x="54" y="133"/>
                  <a:pt x="44" y="140"/>
                  <a:pt x="41" y="142"/>
                </a:cubicBezTo>
                <a:cubicBezTo>
                  <a:pt x="38" y="144"/>
                  <a:pt x="40" y="146"/>
                  <a:pt x="42" y="150"/>
                </a:cubicBezTo>
                <a:cubicBezTo>
                  <a:pt x="44" y="154"/>
                  <a:pt x="49" y="161"/>
                  <a:pt x="49" y="161"/>
                </a:cubicBezTo>
                <a:cubicBezTo>
                  <a:pt x="49" y="161"/>
                  <a:pt x="42" y="167"/>
                  <a:pt x="38" y="172"/>
                </a:cubicBezTo>
                <a:cubicBezTo>
                  <a:pt x="34" y="178"/>
                  <a:pt x="18" y="205"/>
                  <a:pt x="11" y="219"/>
                </a:cubicBezTo>
                <a:cubicBezTo>
                  <a:pt x="4" y="233"/>
                  <a:pt x="3" y="242"/>
                  <a:pt x="3" y="247"/>
                </a:cubicBezTo>
                <a:cubicBezTo>
                  <a:pt x="4" y="251"/>
                  <a:pt x="1" y="309"/>
                  <a:pt x="0" y="342"/>
                </a:cubicBezTo>
                <a:close/>
              </a:path>
            </a:pathLst>
          </a:custGeom>
          <a:solidFill>
            <a:schemeClr val="bg1">
              <a:lumMod val="6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 name="Freeform 28"/>
          <p:cNvSpPr>
            <a:spLocks noEditPoints="1"/>
          </p:cNvSpPr>
          <p:nvPr userDrawn="1"/>
        </p:nvSpPr>
        <p:spPr bwMode="auto">
          <a:xfrm>
            <a:off x="8468752" y="4921314"/>
            <a:ext cx="1437248" cy="1942122"/>
          </a:xfrm>
          <a:custGeom>
            <a:avLst/>
            <a:gdLst/>
            <a:ahLst/>
            <a:cxnLst>
              <a:cxn ang="0">
                <a:pos x="38" y="411"/>
              </a:cxn>
              <a:cxn ang="0">
                <a:pos x="94" y="401"/>
              </a:cxn>
              <a:cxn ang="0">
                <a:pos x="80" y="620"/>
              </a:cxn>
              <a:cxn ang="0">
                <a:pos x="79" y="627"/>
              </a:cxn>
              <a:cxn ang="0">
                <a:pos x="442" y="627"/>
              </a:cxn>
              <a:cxn ang="0">
                <a:pos x="437" y="591"/>
              </a:cxn>
              <a:cxn ang="0">
                <a:pos x="434" y="491"/>
              </a:cxn>
              <a:cxn ang="0">
                <a:pos x="464" y="604"/>
              </a:cxn>
              <a:cxn ang="0">
                <a:pos x="464" y="606"/>
              </a:cxn>
              <a:cxn ang="0">
                <a:pos x="464" y="268"/>
              </a:cxn>
              <a:cxn ang="0">
                <a:pos x="464" y="267"/>
              </a:cxn>
              <a:cxn ang="0">
                <a:pos x="446" y="230"/>
              </a:cxn>
              <a:cxn ang="0">
                <a:pos x="351" y="207"/>
              </a:cxn>
              <a:cxn ang="0">
                <a:pos x="325" y="185"/>
              </a:cxn>
              <a:cxn ang="0">
                <a:pos x="326" y="149"/>
              </a:cxn>
              <a:cxn ang="0">
                <a:pos x="336" y="147"/>
              </a:cxn>
              <a:cxn ang="0">
                <a:pos x="351" y="108"/>
              </a:cxn>
              <a:cxn ang="0">
                <a:pos x="340" y="97"/>
              </a:cxn>
              <a:cxn ang="0">
                <a:pos x="335" y="37"/>
              </a:cxn>
              <a:cxn ang="0">
                <a:pos x="254" y="5"/>
              </a:cxn>
              <a:cxn ang="0">
                <a:pos x="195" y="54"/>
              </a:cxn>
              <a:cxn ang="0">
                <a:pos x="196" y="103"/>
              </a:cxn>
              <a:cxn ang="0">
                <a:pos x="197" y="107"/>
              </a:cxn>
              <a:cxn ang="0">
                <a:pos x="198" y="108"/>
              </a:cxn>
              <a:cxn ang="0">
                <a:pos x="199" y="112"/>
              </a:cxn>
              <a:cxn ang="0">
                <a:pos x="199" y="112"/>
              </a:cxn>
              <a:cxn ang="0">
                <a:pos x="199" y="112"/>
              </a:cxn>
              <a:cxn ang="0">
                <a:pos x="204" y="127"/>
              </a:cxn>
              <a:cxn ang="0">
                <a:pos x="204" y="131"/>
              </a:cxn>
              <a:cxn ang="0">
                <a:pos x="198" y="132"/>
              </a:cxn>
              <a:cxn ang="0">
                <a:pos x="186" y="146"/>
              </a:cxn>
              <a:cxn ang="0">
                <a:pos x="166" y="162"/>
              </a:cxn>
              <a:cxn ang="0">
                <a:pos x="150" y="173"/>
              </a:cxn>
              <a:cxn ang="0">
                <a:pos x="139" y="190"/>
              </a:cxn>
              <a:cxn ang="0">
                <a:pos x="130" y="205"/>
              </a:cxn>
              <a:cxn ang="0">
                <a:pos x="23" y="314"/>
              </a:cxn>
              <a:cxn ang="0">
                <a:pos x="0" y="378"/>
              </a:cxn>
              <a:cxn ang="0">
                <a:pos x="38" y="411"/>
              </a:cxn>
              <a:cxn ang="0">
                <a:pos x="224" y="206"/>
              </a:cxn>
              <a:cxn ang="0">
                <a:pos x="211" y="218"/>
              </a:cxn>
              <a:cxn ang="0">
                <a:pos x="203" y="220"/>
              </a:cxn>
              <a:cxn ang="0">
                <a:pos x="211" y="213"/>
              </a:cxn>
              <a:cxn ang="0">
                <a:pos x="225" y="200"/>
              </a:cxn>
              <a:cxn ang="0">
                <a:pos x="224" y="206"/>
              </a:cxn>
              <a:cxn ang="0">
                <a:pos x="186" y="186"/>
              </a:cxn>
              <a:cxn ang="0">
                <a:pos x="190" y="173"/>
              </a:cxn>
              <a:cxn ang="0">
                <a:pos x="198" y="175"/>
              </a:cxn>
              <a:cxn ang="0">
                <a:pos x="207" y="184"/>
              </a:cxn>
              <a:cxn ang="0">
                <a:pos x="214" y="185"/>
              </a:cxn>
              <a:cxn ang="0">
                <a:pos x="193" y="202"/>
              </a:cxn>
              <a:cxn ang="0">
                <a:pos x="186" y="197"/>
              </a:cxn>
              <a:cxn ang="0">
                <a:pos x="186" y="186"/>
              </a:cxn>
            </a:cxnLst>
            <a:rect l="0" t="0" r="r" b="b"/>
            <a:pathLst>
              <a:path w="464" h="627">
                <a:moveTo>
                  <a:pt x="38" y="411"/>
                </a:moveTo>
                <a:cubicBezTo>
                  <a:pt x="54" y="413"/>
                  <a:pt x="94" y="401"/>
                  <a:pt x="94" y="401"/>
                </a:cubicBezTo>
                <a:cubicBezTo>
                  <a:pt x="94" y="401"/>
                  <a:pt x="83" y="573"/>
                  <a:pt x="80" y="620"/>
                </a:cubicBezTo>
                <a:cubicBezTo>
                  <a:pt x="79" y="623"/>
                  <a:pt x="79" y="625"/>
                  <a:pt x="79" y="627"/>
                </a:cubicBezTo>
                <a:cubicBezTo>
                  <a:pt x="442" y="627"/>
                  <a:pt x="442" y="627"/>
                  <a:pt x="442" y="627"/>
                </a:cubicBezTo>
                <a:cubicBezTo>
                  <a:pt x="439" y="610"/>
                  <a:pt x="437" y="596"/>
                  <a:pt x="437" y="591"/>
                </a:cubicBezTo>
                <a:cubicBezTo>
                  <a:pt x="436" y="579"/>
                  <a:pt x="434" y="491"/>
                  <a:pt x="434" y="491"/>
                </a:cubicBezTo>
                <a:cubicBezTo>
                  <a:pt x="434" y="491"/>
                  <a:pt x="459" y="576"/>
                  <a:pt x="464" y="604"/>
                </a:cubicBezTo>
                <a:cubicBezTo>
                  <a:pt x="464" y="605"/>
                  <a:pt x="464" y="605"/>
                  <a:pt x="464" y="606"/>
                </a:cubicBezTo>
                <a:cubicBezTo>
                  <a:pt x="464" y="268"/>
                  <a:pt x="464" y="268"/>
                  <a:pt x="464" y="268"/>
                </a:cubicBezTo>
                <a:cubicBezTo>
                  <a:pt x="464" y="268"/>
                  <a:pt x="464" y="267"/>
                  <a:pt x="464" y="267"/>
                </a:cubicBezTo>
                <a:cubicBezTo>
                  <a:pt x="452" y="239"/>
                  <a:pt x="458" y="233"/>
                  <a:pt x="446" y="230"/>
                </a:cubicBezTo>
                <a:cubicBezTo>
                  <a:pt x="434" y="227"/>
                  <a:pt x="360" y="207"/>
                  <a:pt x="351" y="207"/>
                </a:cubicBezTo>
                <a:cubicBezTo>
                  <a:pt x="342" y="206"/>
                  <a:pt x="325" y="185"/>
                  <a:pt x="325" y="185"/>
                </a:cubicBezTo>
                <a:cubicBezTo>
                  <a:pt x="325" y="185"/>
                  <a:pt x="325" y="153"/>
                  <a:pt x="326" y="149"/>
                </a:cubicBezTo>
                <a:cubicBezTo>
                  <a:pt x="327" y="146"/>
                  <a:pt x="332" y="150"/>
                  <a:pt x="336" y="147"/>
                </a:cubicBezTo>
                <a:cubicBezTo>
                  <a:pt x="340" y="145"/>
                  <a:pt x="350" y="122"/>
                  <a:pt x="351" y="108"/>
                </a:cubicBezTo>
                <a:cubicBezTo>
                  <a:pt x="352" y="95"/>
                  <a:pt x="340" y="97"/>
                  <a:pt x="340" y="97"/>
                </a:cubicBezTo>
                <a:cubicBezTo>
                  <a:pt x="340" y="97"/>
                  <a:pt x="349" y="55"/>
                  <a:pt x="335" y="37"/>
                </a:cubicBezTo>
                <a:cubicBezTo>
                  <a:pt x="320" y="19"/>
                  <a:pt x="283" y="0"/>
                  <a:pt x="254" y="5"/>
                </a:cubicBezTo>
                <a:cubicBezTo>
                  <a:pt x="225" y="10"/>
                  <a:pt x="199" y="32"/>
                  <a:pt x="195" y="54"/>
                </a:cubicBezTo>
                <a:cubicBezTo>
                  <a:pt x="191" y="75"/>
                  <a:pt x="193" y="93"/>
                  <a:pt x="196" y="103"/>
                </a:cubicBezTo>
                <a:cubicBezTo>
                  <a:pt x="196" y="104"/>
                  <a:pt x="197" y="106"/>
                  <a:pt x="197" y="107"/>
                </a:cubicBezTo>
                <a:cubicBezTo>
                  <a:pt x="198" y="108"/>
                  <a:pt x="198" y="108"/>
                  <a:pt x="198" y="108"/>
                </a:cubicBezTo>
                <a:cubicBezTo>
                  <a:pt x="198" y="110"/>
                  <a:pt x="199" y="111"/>
                  <a:pt x="199" y="112"/>
                </a:cubicBezTo>
                <a:cubicBezTo>
                  <a:pt x="199" y="112"/>
                  <a:pt x="199" y="112"/>
                  <a:pt x="199" y="112"/>
                </a:cubicBezTo>
                <a:cubicBezTo>
                  <a:pt x="199" y="112"/>
                  <a:pt x="199" y="112"/>
                  <a:pt x="199" y="112"/>
                </a:cubicBezTo>
                <a:cubicBezTo>
                  <a:pt x="202" y="118"/>
                  <a:pt x="204" y="122"/>
                  <a:pt x="204" y="127"/>
                </a:cubicBezTo>
                <a:cubicBezTo>
                  <a:pt x="205" y="133"/>
                  <a:pt x="204" y="131"/>
                  <a:pt x="204" y="131"/>
                </a:cubicBezTo>
                <a:cubicBezTo>
                  <a:pt x="204" y="131"/>
                  <a:pt x="201" y="127"/>
                  <a:pt x="198" y="132"/>
                </a:cubicBezTo>
                <a:cubicBezTo>
                  <a:pt x="195" y="136"/>
                  <a:pt x="188" y="144"/>
                  <a:pt x="186" y="146"/>
                </a:cubicBezTo>
                <a:cubicBezTo>
                  <a:pt x="184" y="149"/>
                  <a:pt x="168" y="160"/>
                  <a:pt x="166" y="162"/>
                </a:cubicBezTo>
                <a:cubicBezTo>
                  <a:pt x="164" y="164"/>
                  <a:pt x="156" y="163"/>
                  <a:pt x="150" y="173"/>
                </a:cubicBezTo>
                <a:cubicBezTo>
                  <a:pt x="145" y="183"/>
                  <a:pt x="144" y="185"/>
                  <a:pt x="139" y="190"/>
                </a:cubicBezTo>
                <a:cubicBezTo>
                  <a:pt x="134" y="194"/>
                  <a:pt x="130" y="205"/>
                  <a:pt x="130" y="205"/>
                </a:cubicBezTo>
                <a:cubicBezTo>
                  <a:pt x="130" y="205"/>
                  <a:pt x="44" y="283"/>
                  <a:pt x="23" y="314"/>
                </a:cubicBezTo>
                <a:cubicBezTo>
                  <a:pt x="2" y="345"/>
                  <a:pt x="0" y="366"/>
                  <a:pt x="0" y="378"/>
                </a:cubicBezTo>
                <a:cubicBezTo>
                  <a:pt x="0" y="390"/>
                  <a:pt x="21" y="408"/>
                  <a:pt x="38" y="411"/>
                </a:cubicBezTo>
                <a:close/>
                <a:moveTo>
                  <a:pt x="224" y="206"/>
                </a:moveTo>
                <a:cubicBezTo>
                  <a:pt x="223" y="208"/>
                  <a:pt x="215" y="216"/>
                  <a:pt x="211" y="218"/>
                </a:cubicBezTo>
                <a:cubicBezTo>
                  <a:pt x="207" y="220"/>
                  <a:pt x="203" y="220"/>
                  <a:pt x="203" y="220"/>
                </a:cubicBezTo>
                <a:cubicBezTo>
                  <a:pt x="203" y="220"/>
                  <a:pt x="209" y="216"/>
                  <a:pt x="211" y="213"/>
                </a:cubicBezTo>
                <a:cubicBezTo>
                  <a:pt x="213" y="211"/>
                  <a:pt x="225" y="200"/>
                  <a:pt x="225" y="200"/>
                </a:cubicBezTo>
                <a:cubicBezTo>
                  <a:pt x="225" y="200"/>
                  <a:pt x="226" y="204"/>
                  <a:pt x="224" y="206"/>
                </a:cubicBezTo>
                <a:close/>
                <a:moveTo>
                  <a:pt x="186" y="186"/>
                </a:moveTo>
                <a:cubicBezTo>
                  <a:pt x="187" y="179"/>
                  <a:pt x="190" y="173"/>
                  <a:pt x="190" y="173"/>
                </a:cubicBezTo>
                <a:cubicBezTo>
                  <a:pt x="190" y="173"/>
                  <a:pt x="195" y="174"/>
                  <a:pt x="198" y="175"/>
                </a:cubicBezTo>
                <a:cubicBezTo>
                  <a:pt x="201" y="175"/>
                  <a:pt x="203" y="180"/>
                  <a:pt x="207" y="184"/>
                </a:cubicBezTo>
                <a:cubicBezTo>
                  <a:pt x="211" y="187"/>
                  <a:pt x="214" y="185"/>
                  <a:pt x="214" y="185"/>
                </a:cubicBezTo>
                <a:cubicBezTo>
                  <a:pt x="200" y="195"/>
                  <a:pt x="196" y="201"/>
                  <a:pt x="193" y="202"/>
                </a:cubicBezTo>
                <a:cubicBezTo>
                  <a:pt x="191" y="203"/>
                  <a:pt x="187" y="199"/>
                  <a:pt x="186" y="197"/>
                </a:cubicBezTo>
                <a:cubicBezTo>
                  <a:pt x="185" y="195"/>
                  <a:pt x="185" y="193"/>
                  <a:pt x="186" y="186"/>
                </a:cubicBezTo>
                <a:close/>
              </a:path>
            </a:pathLst>
          </a:custGeom>
          <a:solidFill>
            <a:srgbClr val="F5F5F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 name="Freeform 4"/>
          <p:cNvSpPr>
            <a:spLocks/>
          </p:cNvSpPr>
          <p:nvPr userDrawn="1"/>
        </p:nvSpPr>
        <p:spPr bwMode="auto">
          <a:xfrm>
            <a:off x="9599143" y="5285872"/>
            <a:ext cx="1112032" cy="1577564"/>
          </a:xfrm>
          <a:custGeom>
            <a:avLst/>
            <a:gdLst/>
            <a:ahLst/>
            <a:cxnLst>
              <a:cxn ang="0">
                <a:pos x="8" y="509"/>
              </a:cxn>
              <a:cxn ang="0">
                <a:pos x="307" y="509"/>
              </a:cxn>
              <a:cxn ang="0">
                <a:pos x="304" y="487"/>
              </a:cxn>
              <a:cxn ang="0">
                <a:pos x="321" y="459"/>
              </a:cxn>
              <a:cxn ang="0">
                <a:pos x="351" y="341"/>
              </a:cxn>
              <a:cxn ang="0">
                <a:pos x="353" y="250"/>
              </a:cxn>
              <a:cxn ang="0">
                <a:pos x="309" y="237"/>
              </a:cxn>
              <a:cxn ang="0">
                <a:pos x="282" y="212"/>
              </a:cxn>
              <a:cxn ang="0">
                <a:pos x="266" y="170"/>
              </a:cxn>
              <a:cxn ang="0">
                <a:pos x="253" y="98"/>
              </a:cxn>
              <a:cxn ang="0">
                <a:pos x="225" y="29"/>
              </a:cxn>
              <a:cxn ang="0">
                <a:pos x="189" y="22"/>
              </a:cxn>
              <a:cxn ang="0">
                <a:pos x="102" y="72"/>
              </a:cxn>
              <a:cxn ang="0">
                <a:pos x="96" y="176"/>
              </a:cxn>
              <a:cxn ang="0">
                <a:pos x="94" y="237"/>
              </a:cxn>
              <a:cxn ang="0">
                <a:pos x="74" y="270"/>
              </a:cxn>
              <a:cxn ang="0">
                <a:pos x="49" y="298"/>
              </a:cxn>
              <a:cxn ang="0">
                <a:pos x="26" y="395"/>
              </a:cxn>
              <a:cxn ang="0">
                <a:pos x="4" y="460"/>
              </a:cxn>
              <a:cxn ang="0">
                <a:pos x="4" y="487"/>
              </a:cxn>
              <a:cxn ang="0">
                <a:pos x="8" y="509"/>
              </a:cxn>
            </a:cxnLst>
            <a:rect l="0" t="0" r="r" b="b"/>
            <a:pathLst>
              <a:path w="359" h="509">
                <a:moveTo>
                  <a:pt x="8" y="509"/>
                </a:moveTo>
                <a:cubicBezTo>
                  <a:pt x="307" y="509"/>
                  <a:pt x="307" y="509"/>
                  <a:pt x="307" y="509"/>
                </a:cubicBezTo>
                <a:cubicBezTo>
                  <a:pt x="305" y="496"/>
                  <a:pt x="304" y="487"/>
                  <a:pt x="304" y="487"/>
                </a:cubicBezTo>
                <a:cubicBezTo>
                  <a:pt x="304" y="487"/>
                  <a:pt x="320" y="475"/>
                  <a:pt x="321" y="459"/>
                </a:cubicBezTo>
                <a:cubicBezTo>
                  <a:pt x="322" y="444"/>
                  <a:pt x="349" y="359"/>
                  <a:pt x="351" y="341"/>
                </a:cubicBezTo>
                <a:cubicBezTo>
                  <a:pt x="352" y="323"/>
                  <a:pt x="359" y="270"/>
                  <a:pt x="353" y="250"/>
                </a:cubicBezTo>
                <a:cubicBezTo>
                  <a:pt x="346" y="230"/>
                  <a:pt x="309" y="237"/>
                  <a:pt x="309" y="237"/>
                </a:cubicBezTo>
                <a:cubicBezTo>
                  <a:pt x="309" y="237"/>
                  <a:pt x="300" y="217"/>
                  <a:pt x="282" y="212"/>
                </a:cubicBezTo>
                <a:cubicBezTo>
                  <a:pt x="264" y="207"/>
                  <a:pt x="287" y="183"/>
                  <a:pt x="266" y="170"/>
                </a:cubicBezTo>
                <a:cubicBezTo>
                  <a:pt x="253" y="162"/>
                  <a:pt x="257" y="116"/>
                  <a:pt x="253" y="98"/>
                </a:cubicBezTo>
                <a:cubicBezTo>
                  <a:pt x="249" y="81"/>
                  <a:pt x="238" y="45"/>
                  <a:pt x="225" y="29"/>
                </a:cubicBezTo>
                <a:cubicBezTo>
                  <a:pt x="213" y="14"/>
                  <a:pt x="189" y="22"/>
                  <a:pt x="189" y="22"/>
                </a:cubicBezTo>
                <a:cubicBezTo>
                  <a:pt x="135" y="0"/>
                  <a:pt x="107" y="47"/>
                  <a:pt x="102" y="72"/>
                </a:cubicBezTo>
                <a:cubicBezTo>
                  <a:pt x="98" y="97"/>
                  <a:pt x="111" y="144"/>
                  <a:pt x="96" y="176"/>
                </a:cubicBezTo>
                <a:cubicBezTo>
                  <a:pt x="82" y="208"/>
                  <a:pt x="113" y="219"/>
                  <a:pt x="94" y="237"/>
                </a:cubicBezTo>
                <a:cubicBezTo>
                  <a:pt x="75" y="256"/>
                  <a:pt x="92" y="262"/>
                  <a:pt x="74" y="270"/>
                </a:cubicBezTo>
                <a:cubicBezTo>
                  <a:pt x="55" y="278"/>
                  <a:pt x="49" y="282"/>
                  <a:pt x="49" y="298"/>
                </a:cubicBezTo>
                <a:cubicBezTo>
                  <a:pt x="49" y="314"/>
                  <a:pt x="34" y="357"/>
                  <a:pt x="26" y="395"/>
                </a:cubicBezTo>
                <a:cubicBezTo>
                  <a:pt x="18" y="433"/>
                  <a:pt x="9" y="447"/>
                  <a:pt x="4" y="460"/>
                </a:cubicBezTo>
                <a:cubicBezTo>
                  <a:pt x="0" y="474"/>
                  <a:pt x="2" y="480"/>
                  <a:pt x="4" y="487"/>
                </a:cubicBezTo>
                <a:cubicBezTo>
                  <a:pt x="6" y="493"/>
                  <a:pt x="7" y="495"/>
                  <a:pt x="8" y="509"/>
                </a:cubicBezTo>
                <a:close/>
              </a:path>
            </a:pathLst>
          </a:custGeom>
          <a:solidFill>
            <a:schemeClr val="bg1">
              <a:lumMod val="6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 name="Freeform 16"/>
          <p:cNvSpPr>
            <a:spLocks/>
          </p:cNvSpPr>
          <p:nvPr userDrawn="1"/>
        </p:nvSpPr>
        <p:spPr bwMode="auto">
          <a:xfrm>
            <a:off x="9517475" y="5988760"/>
            <a:ext cx="597979" cy="874676"/>
          </a:xfrm>
          <a:custGeom>
            <a:avLst/>
            <a:gdLst/>
            <a:ahLst/>
            <a:cxnLst>
              <a:cxn ang="0">
                <a:pos x="22" y="232"/>
              </a:cxn>
              <a:cxn ang="0">
                <a:pos x="24" y="282"/>
              </a:cxn>
              <a:cxn ang="0">
                <a:pos x="193" y="282"/>
              </a:cxn>
              <a:cxn ang="0">
                <a:pos x="192" y="247"/>
              </a:cxn>
              <a:cxn ang="0">
                <a:pos x="185" y="219"/>
              </a:cxn>
              <a:cxn ang="0">
                <a:pos x="157" y="173"/>
              </a:cxn>
              <a:cxn ang="0">
                <a:pos x="147" y="162"/>
              </a:cxn>
              <a:cxn ang="0">
                <a:pos x="153" y="150"/>
              </a:cxn>
              <a:cxn ang="0">
                <a:pos x="155" y="142"/>
              </a:cxn>
              <a:cxn ang="0">
                <a:pos x="142" y="133"/>
              </a:cxn>
              <a:cxn ang="0">
                <a:pos x="142" y="127"/>
              </a:cxn>
              <a:cxn ang="0">
                <a:pos x="146" y="128"/>
              </a:cxn>
              <a:cxn ang="0">
                <a:pos x="151" y="124"/>
              </a:cxn>
              <a:cxn ang="0">
                <a:pos x="151" y="111"/>
              </a:cxn>
              <a:cxn ang="0">
                <a:pos x="149" y="108"/>
              </a:cxn>
              <a:cxn ang="0">
                <a:pos x="150" y="105"/>
              </a:cxn>
              <a:cxn ang="0">
                <a:pos x="148" y="102"/>
              </a:cxn>
              <a:cxn ang="0">
                <a:pos x="150" y="99"/>
              </a:cxn>
              <a:cxn ang="0">
                <a:pos x="150" y="92"/>
              </a:cxn>
              <a:cxn ang="0">
                <a:pos x="156" y="88"/>
              </a:cxn>
              <a:cxn ang="0">
                <a:pos x="155" y="81"/>
              </a:cxn>
              <a:cxn ang="0">
                <a:pos x="152" y="68"/>
              </a:cxn>
              <a:cxn ang="0">
                <a:pos x="156" y="60"/>
              </a:cxn>
              <a:cxn ang="0">
                <a:pos x="152" y="46"/>
              </a:cxn>
              <a:cxn ang="0">
                <a:pos x="153" y="40"/>
              </a:cxn>
              <a:cxn ang="0">
                <a:pos x="155" y="43"/>
              </a:cxn>
              <a:cxn ang="0">
                <a:pos x="156" y="27"/>
              </a:cxn>
              <a:cxn ang="0">
                <a:pos x="107" y="1"/>
              </a:cxn>
              <a:cxn ang="0">
                <a:pos x="64" y="99"/>
              </a:cxn>
              <a:cxn ang="0">
                <a:pos x="67" y="104"/>
              </a:cxn>
              <a:cxn ang="0">
                <a:pos x="66" y="109"/>
              </a:cxn>
              <a:cxn ang="0">
                <a:pos x="63" y="113"/>
              </a:cxn>
              <a:cxn ang="0">
                <a:pos x="56" y="112"/>
              </a:cxn>
              <a:cxn ang="0">
                <a:pos x="52" y="114"/>
              </a:cxn>
              <a:cxn ang="0">
                <a:pos x="46" y="127"/>
              </a:cxn>
              <a:cxn ang="0">
                <a:pos x="32" y="138"/>
              </a:cxn>
              <a:cxn ang="0">
                <a:pos x="23" y="140"/>
              </a:cxn>
              <a:cxn ang="0">
                <a:pos x="4" y="157"/>
              </a:cxn>
              <a:cxn ang="0">
                <a:pos x="6" y="194"/>
              </a:cxn>
              <a:cxn ang="0">
                <a:pos x="22" y="232"/>
              </a:cxn>
            </a:cxnLst>
            <a:rect l="0" t="0" r="r" b="b"/>
            <a:pathLst>
              <a:path w="193" h="282">
                <a:moveTo>
                  <a:pt x="22" y="232"/>
                </a:moveTo>
                <a:cubicBezTo>
                  <a:pt x="23" y="233"/>
                  <a:pt x="24" y="254"/>
                  <a:pt x="24" y="282"/>
                </a:cubicBezTo>
                <a:cubicBezTo>
                  <a:pt x="193" y="282"/>
                  <a:pt x="193" y="282"/>
                  <a:pt x="193" y="282"/>
                </a:cubicBezTo>
                <a:cubicBezTo>
                  <a:pt x="193" y="264"/>
                  <a:pt x="192" y="249"/>
                  <a:pt x="192" y="247"/>
                </a:cubicBezTo>
                <a:cubicBezTo>
                  <a:pt x="193" y="243"/>
                  <a:pt x="191" y="233"/>
                  <a:pt x="185" y="219"/>
                </a:cubicBezTo>
                <a:cubicBezTo>
                  <a:pt x="178" y="205"/>
                  <a:pt x="161" y="178"/>
                  <a:pt x="157" y="173"/>
                </a:cubicBezTo>
                <a:cubicBezTo>
                  <a:pt x="154" y="168"/>
                  <a:pt x="147" y="162"/>
                  <a:pt x="147" y="162"/>
                </a:cubicBezTo>
                <a:cubicBezTo>
                  <a:pt x="147" y="162"/>
                  <a:pt x="152" y="155"/>
                  <a:pt x="153" y="150"/>
                </a:cubicBezTo>
                <a:cubicBezTo>
                  <a:pt x="155" y="146"/>
                  <a:pt x="158" y="144"/>
                  <a:pt x="155" y="142"/>
                </a:cubicBezTo>
                <a:cubicBezTo>
                  <a:pt x="152" y="141"/>
                  <a:pt x="142" y="133"/>
                  <a:pt x="142" y="133"/>
                </a:cubicBezTo>
                <a:cubicBezTo>
                  <a:pt x="142" y="133"/>
                  <a:pt x="142" y="128"/>
                  <a:pt x="142" y="127"/>
                </a:cubicBezTo>
                <a:cubicBezTo>
                  <a:pt x="142" y="126"/>
                  <a:pt x="144" y="128"/>
                  <a:pt x="146" y="128"/>
                </a:cubicBezTo>
                <a:cubicBezTo>
                  <a:pt x="148" y="128"/>
                  <a:pt x="150" y="130"/>
                  <a:pt x="151" y="124"/>
                </a:cubicBezTo>
                <a:cubicBezTo>
                  <a:pt x="151" y="117"/>
                  <a:pt x="152" y="113"/>
                  <a:pt x="151" y="111"/>
                </a:cubicBezTo>
                <a:cubicBezTo>
                  <a:pt x="149" y="109"/>
                  <a:pt x="149" y="108"/>
                  <a:pt x="149" y="108"/>
                </a:cubicBezTo>
                <a:cubicBezTo>
                  <a:pt x="149" y="108"/>
                  <a:pt x="150" y="107"/>
                  <a:pt x="150" y="105"/>
                </a:cubicBezTo>
                <a:cubicBezTo>
                  <a:pt x="150" y="103"/>
                  <a:pt x="148" y="102"/>
                  <a:pt x="148" y="102"/>
                </a:cubicBezTo>
                <a:cubicBezTo>
                  <a:pt x="148" y="102"/>
                  <a:pt x="150" y="101"/>
                  <a:pt x="150" y="99"/>
                </a:cubicBezTo>
                <a:cubicBezTo>
                  <a:pt x="151" y="97"/>
                  <a:pt x="150" y="92"/>
                  <a:pt x="150" y="92"/>
                </a:cubicBezTo>
                <a:cubicBezTo>
                  <a:pt x="150" y="91"/>
                  <a:pt x="154" y="91"/>
                  <a:pt x="156" y="88"/>
                </a:cubicBezTo>
                <a:cubicBezTo>
                  <a:pt x="157" y="85"/>
                  <a:pt x="157" y="84"/>
                  <a:pt x="155" y="81"/>
                </a:cubicBezTo>
                <a:cubicBezTo>
                  <a:pt x="153" y="78"/>
                  <a:pt x="150" y="72"/>
                  <a:pt x="152" y="68"/>
                </a:cubicBezTo>
                <a:cubicBezTo>
                  <a:pt x="153" y="64"/>
                  <a:pt x="156" y="61"/>
                  <a:pt x="156" y="60"/>
                </a:cubicBezTo>
                <a:cubicBezTo>
                  <a:pt x="156" y="58"/>
                  <a:pt x="153" y="50"/>
                  <a:pt x="152" y="46"/>
                </a:cubicBezTo>
                <a:cubicBezTo>
                  <a:pt x="152" y="43"/>
                  <a:pt x="153" y="40"/>
                  <a:pt x="153" y="40"/>
                </a:cubicBezTo>
                <a:cubicBezTo>
                  <a:pt x="153" y="40"/>
                  <a:pt x="155" y="42"/>
                  <a:pt x="155" y="43"/>
                </a:cubicBezTo>
                <a:cubicBezTo>
                  <a:pt x="155" y="43"/>
                  <a:pt x="157" y="32"/>
                  <a:pt x="156" y="27"/>
                </a:cubicBezTo>
                <a:cubicBezTo>
                  <a:pt x="154" y="23"/>
                  <a:pt x="142" y="0"/>
                  <a:pt x="107" y="1"/>
                </a:cubicBezTo>
                <a:cubicBezTo>
                  <a:pt x="44" y="2"/>
                  <a:pt x="39" y="46"/>
                  <a:pt x="64" y="99"/>
                </a:cubicBezTo>
                <a:cubicBezTo>
                  <a:pt x="64" y="99"/>
                  <a:pt x="66" y="103"/>
                  <a:pt x="67" y="104"/>
                </a:cubicBezTo>
                <a:cubicBezTo>
                  <a:pt x="67" y="105"/>
                  <a:pt x="66" y="109"/>
                  <a:pt x="66" y="109"/>
                </a:cubicBezTo>
                <a:cubicBezTo>
                  <a:pt x="66" y="109"/>
                  <a:pt x="64" y="112"/>
                  <a:pt x="63" y="113"/>
                </a:cubicBezTo>
                <a:cubicBezTo>
                  <a:pt x="63" y="114"/>
                  <a:pt x="58" y="113"/>
                  <a:pt x="56" y="112"/>
                </a:cubicBezTo>
                <a:cubicBezTo>
                  <a:pt x="55" y="111"/>
                  <a:pt x="54" y="110"/>
                  <a:pt x="52" y="114"/>
                </a:cubicBezTo>
                <a:cubicBezTo>
                  <a:pt x="51" y="117"/>
                  <a:pt x="47" y="126"/>
                  <a:pt x="46" y="127"/>
                </a:cubicBezTo>
                <a:cubicBezTo>
                  <a:pt x="45" y="128"/>
                  <a:pt x="34" y="137"/>
                  <a:pt x="32" y="138"/>
                </a:cubicBezTo>
                <a:cubicBezTo>
                  <a:pt x="29" y="140"/>
                  <a:pt x="27" y="141"/>
                  <a:pt x="23" y="140"/>
                </a:cubicBezTo>
                <a:cubicBezTo>
                  <a:pt x="19" y="140"/>
                  <a:pt x="6" y="145"/>
                  <a:pt x="4" y="157"/>
                </a:cubicBezTo>
                <a:cubicBezTo>
                  <a:pt x="2" y="168"/>
                  <a:pt x="0" y="176"/>
                  <a:pt x="6" y="194"/>
                </a:cubicBezTo>
                <a:cubicBezTo>
                  <a:pt x="12" y="213"/>
                  <a:pt x="19" y="225"/>
                  <a:pt x="22" y="232"/>
                </a:cubicBez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Freeform 6"/>
          <p:cNvSpPr>
            <a:spLocks/>
          </p:cNvSpPr>
          <p:nvPr userDrawn="1"/>
        </p:nvSpPr>
        <p:spPr bwMode="auto">
          <a:xfrm>
            <a:off x="3751796" y="5285872"/>
            <a:ext cx="1112032" cy="1577564"/>
          </a:xfrm>
          <a:custGeom>
            <a:avLst/>
            <a:gdLst/>
            <a:ahLst/>
            <a:cxnLst>
              <a:cxn ang="0">
                <a:pos x="8" y="509"/>
              </a:cxn>
              <a:cxn ang="0">
                <a:pos x="307" y="509"/>
              </a:cxn>
              <a:cxn ang="0">
                <a:pos x="304" y="487"/>
              </a:cxn>
              <a:cxn ang="0">
                <a:pos x="321" y="459"/>
              </a:cxn>
              <a:cxn ang="0">
                <a:pos x="351" y="341"/>
              </a:cxn>
              <a:cxn ang="0">
                <a:pos x="353" y="250"/>
              </a:cxn>
              <a:cxn ang="0">
                <a:pos x="309" y="237"/>
              </a:cxn>
              <a:cxn ang="0">
                <a:pos x="282" y="212"/>
              </a:cxn>
              <a:cxn ang="0">
                <a:pos x="266" y="170"/>
              </a:cxn>
              <a:cxn ang="0">
                <a:pos x="253" y="98"/>
              </a:cxn>
              <a:cxn ang="0">
                <a:pos x="225" y="29"/>
              </a:cxn>
              <a:cxn ang="0">
                <a:pos x="189" y="22"/>
              </a:cxn>
              <a:cxn ang="0">
                <a:pos x="102" y="72"/>
              </a:cxn>
              <a:cxn ang="0">
                <a:pos x="96" y="176"/>
              </a:cxn>
              <a:cxn ang="0">
                <a:pos x="94" y="237"/>
              </a:cxn>
              <a:cxn ang="0">
                <a:pos x="74" y="270"/>
              </a:cxn>
              <a:cxn ang="0">
                <a:pos x="49" y="298"/>
              </a:cxn>
              <a:cxn ang="0">
                <a:pos x="26" y="395"/>
              </a:cxn>
              <a:cxn ang="0">
                <a:pos x="4" y="460"/>
              </a:cxn>
              <a:cxn ang="0">
                <a:pos x="4" y="487"/>
              </a:cxn>
              <a:cxn ang="0">
                <a:pos x="8" y="509"/>
              </a:cxn>
            </a:cxnLst>
            <a:rect l="0" t="0" r="r" b="b"/>
            <a:pathLst>
              <a:path w="359" h="509">
                <a:moveTo>
                  <a:pt x="8" y="509"/>
                </a:moveTo>
                <a:cubicBezTo>
                  <a:pt x="307" y="509"/>
                  <a:pt x="307" y="509"/>
                  <a:pt x="307" y="509"/>
                </a:cubicBezTo>
                <a:cubicBezTo>
                  <a:pt x="305" y="496"/>
                  <a:pt x="304" y="487"/>
                  <a:pt x="304" y="487"/>
                </a:cubicBezTo>
                <a:cubicBezTo>
                  <a:pt x="304" y="487"/>
                  <a:pt x="320" y="475"/>
                  <a:pt x="321" y="459"/>
                </a:cubicBezTo>
                <a:cubicBezTo>
                  <a:pt x="322" y="444"/>
                  <a:pt x="349" y="359"/>
                  <a:pt x="351" y="341"/>
                </a:cubicBezTo>
                <a:cubicBezTo>
                  <a:pt x="352" y="323"/>
                  <a:pt x="359" y="270"/>
                  <a:pt x="353" y="250"/>
                </a:cubicBezTo>
                <a:cubicBezTo>
                  <a:pt x="346" y="230"/>
                  <a:pt x="309" y="237"/>
                  <a:pt x="309" y="237"/>
                </a:cubicBezTo>
                <a:cubicBezTo>
                  <a:pt x="309" y="237"/>
                  <a:pt x="300" y="217"/>
                  <a:pt x="282" y="212"/>
                </a:cubicBezTo>
                <a:cubicBezTo>
                  <a:pt x="264" y="207"/>
                  <a:pt x="287" y="183"/>
                  <a:pt x="266" y="170"/>
                </a:cubicBezTo>
                <a:cubicBezTo>
                  <a:pt x="253" y="162"/>
                  <a:pt x="257" y="116"/>
                  <a:pt x="253" y="98"/>
                </a:cubicBezTo>
                <a:cubicBezTo>
                  <a:pt x="249" y="81"/>
                  <a:pt x="238" y="45"/>
                  <a:pt x="225" y="29"/>
                </a:cubicBezTo>
                <a:cubicBezTo>
                  <a:pt x="213" y="14"/>
                  <a:pt x="189" y="22"/>
                  <a:pt x="189" y="22"/>
                </a:cubicBezTo>
                <a:cubicBezTo>
                  <a:pt x="135" y="0"/>
                  <a:pt x="107" y="47"/>
                  <a:pt x="102" y="72"/>
                </a:cubicBezTo>
                <a:cubicBezTo>
                  <a:pt x="98" y="97"/>
                  <a:pt x="111" y="144"/>
                  <a:pt x="96" y="176"/>
                </a:cubicBezTo>
                <a:cubicBezTo>
                  <a:pt x="82" y="208"/>
                  <a:pt x="113" y="219"/>
                  <a:pt x="94" y="237"/>
                </a:cubicBezTo>
                <a:cubicBezTo>
                  <a:pt x="75" y="256"/>
                  <a:pt x="92" y="262"/>
                  <a:pt x="74" y="270"/>
                </a:cubicBezTo>
                <a:cubicBezTo>
                  <a:pt x="55" y="278"/>
                  <a:pt x="49" y="282"/>
                  <a:pt x="49" y="298"/>
                </a:cubicBezTo>
                <a:cubicBezTo>
                  <a:pt x="49" y="314"/>
                  <a:pt x="34" y="357"/>
                  <a:pt x="26" y="395"/>
                </a:cubicBezTo>
                <a:cubicBezTo>
                  <a:pt x="18" y="433"/>
                  <a:pt x="9" y="447"/>
                  <a:pt x="4" y="460"/>
                </a:cubicBezTo>
                <a:cubicBezTo>
                  <a:pt x="0" y="474"/>
                  <a:pt x="2" y="480"/>
                  <a:pt x="4" y="487"/>
                </a:cubicBezTo>
                <a:cubicBezTo>
                  <a:pt x="6" y="493"/>
                  <a:pt x="7" y="495"/>
                  <a:pt x="8" y="509"/>
                </a:cubicBezTo>
                <a:close/>
              </a:path>
            </a:pathLst>
          </a:custGeom>
          <a:solidFill>
            <a:schemeClr val="bg2">
              <a:lumMod val="9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Freeform 7"/>
          <p:cNvSpPr>
            <a:spLocks/>
          </p:cNvSpPr>
          <p:nvPr userDrawn="1"/>
        </p:nvSpPr>
        <p:spPr bwMode="auto">
          <a:xfrm>
            <a:off x="1456919" y="4794113"/>
            <a:ext cx="789438" cy="2069323"/>
          </a:xfrm>
          <a:custGeom>
            <a:avLst/>
            <a:gdLst/>
            <a:ahLst/>
            <a:cxnLst>
              <a:cxn ang="0">
                <a:pos x="35" y="371"/>
              </a:cxn>
              <a:cxn ang="0">
                <a:pos x="31" y="411"/>
              </a:cxn>
              <a:cxn ang="0">
                <a:pos x="13" y="464"/>
              </a:cxn>
              <a:cxn ang="0">
                <a:pos x="35" y="468"/>
              </a:cxn>
              <a:cxn ang="0">
                <a:pos x="34" y="530"/>
              </a:cxn>
              <a:cxn ang="0">
                <a:pos x="39" y="644"/>
              </a:cxn>
              <a:cxn ang="0">
                <a:pos x="57" y="660"/>
              </a:cxn>
              <a:cxn ang="0">
                <a:pos x="58" y="668"/>
              </a:cxn>
              <a:cxn ang="0">
                <a:pos x="124" y="668"/>
              </a:cxn>
              <a:cxn ang="0">
                <a:pos x="125" y="661"/>
              </a:cxn>
              <a:cxn ang="0">
                <a:pos x="125" y="668"/>
              </a:cxn>
              <a:cxn ang="0">
                <a:pos x="179" y="668"/>
              </a:cxn>
              <a:cxn ang="0">
                <a:pos x="179" y="663"/>
              </a:cxn>
              <a:cxn ang="0">
                <a:pos x="189" y="663"/>
              </a:cxn>
              <a:cxn ang="0">
                <a:pos x="196" y="650"/>
              </a:cxn>
              <a:cxn ang="0">
                <a:pos x="216" y="540"/>
              </a:cxn>
              <a:cxn ang="0">
                <a:pos x="222" y="474"/>
              </a:cxn>
              <a:cxn ang="0">
                <a:pos x="235" y="472"/>
              </a:cxn>
              <a:cxn ang="0">
                <a:pos x="226" y="423"/>
              </a:cxn>
              <a:cxn ang="0">
                <a:pos x="219" y="356"/>
              </a:cxn>
              <a:cxn ang="0">
                <a:pos x="244" y="337"/>
              </a:cxn>
              <a:cxn ang="0">
                <a:pos x="252" y="271"/>
              </a:cxn>
              <a:cxn ang="0">
                <a:pos x="240" y="193"/>
              </a:cxn>
              <a:cxn ang="0">
                <a:pos x="203" y="172"/>
              </a:cxn>
              <a:cxn ang="0">
                <a:pos x="196" y="151"/>
              </a:cxn>
              <a:cxn ang="0">
                <a:pos x="183" y="111"/>
              </a:cxn>
              <a:cxn ang="0">
                <a:pos x="176" y="70"/>
              </a:cxn>
              <a:cxn ang="0">
                <a:pos x="168" y="41"/>
              </a:cxn>
              <a:cxn ang="0">
                <a:pos x="122" y="0"/>
              </a:cxn>
              <a:cxn ang="0">
                <a:pos x="122" y="0"/>
              </a:cxn>
              <a:cxn ang="0">
                <a:pos x="73" y="73"/>
              </a:cxn>
              <a:cxn ang="0">
                <a:pos x="72" y="115"/>
              </a:cxn>
              <a:cxn ang="0">
                <a:pos x="57" y="143"/>
              </a:cxn>
              <a:cxn ang="0">
                <a:pos x="55" y="165"/>
              </a:cxn>
              <a:cxn ang="0">
                <a:pos x="31" y="175"/>
              </a:cxn>
              <a:cxn ang="0">
                <a:pos x="8" y="232"/>
              </a:cxn>
              <a:cxn ang="0">
                <a:pos x="2" y="266"/>
              </a:cxn>
              <a:cxn ang="0">
                <a:pos x="2" y="344"/>
              </a:cxn>
              <a:cxn ang="0">
                <a:pos x="35" y="371"/>
              </a:cxn>
            </a:cxnLst>
            <a:rect l="0" t="0" r="r" b="b"/>
            <a:pathLst>
              <a:path w="255" h="668">
                <a:moveTo>
                  <a:pt x="35" y="371"/>
                </a:moveTo>
                <a:cubicBezTo>
                  <a:pt x="35" y="371"/>
                  <a:pt x="35" y="396"/>
                  <a:pt x="31" y="411"/>
                </a:cubicBezTo>
                <a:cubicBezTo>
                  <a:pt x="27" y="425"/>
                  <a:pt x="7" y="461"/>
                  <a:pt x="13" y="464"/>
                </a:cubicBezTo>
                <a:cubicBezTo>
                  <a:pt x="18" y="466"/>
                  <a:pt x="35" y="468"/>
                  <a:pt x="35" y="468"/>
                </a:cubicBezTo>
                <a:cubicBezTo>
                  <a:pt x="35" y="468"/>
                  <a:pt x="32" y="509"/>
                  <a:pt x="34" y="530"/>
                </a:cubicBezTo>
                <a:cubicBezTo>
                  <a:pt x="35" y="551"/>
                  <a:pt x="39" y="620"/>
                  <a:pt x="39" y="644"/>
                </a:cubicBezTo>
                <a:cubicBezTo>
                  <a:pt x="39" y="668"/>
                  <a:pt x="57" y="660"/>
                  <a:pt x="57" y="660"/>
                </a:cubicBezTo>
                <a:cubicBezTo>
                  <a:pt x="57" y="660"/>
                  <a:pt x="57" y="663"/>
                  <a:pt x="58" y="668"/>
                </a:cubicBezTo>
                <a:cubicBezTo>
                  <a:pt x="124" y="668"/>
                  <a:pt x="124" y="668"/>
                  <a:pt x="124" y="668"/>
                </a:cubicBezTo>
                <a:cubicBezTo>
                  <a:pt x="124" y="664"/>
                  <a:pt x="125" y="661"/>
                  <a:pt x="125" y="661"/>
                </a:cubicBezTo>
                <a:cubicBezTo>
                  <a:pt x="125" y="664"/>
                  <a:pt x="125" y="666"/>
                  <a:pt x="125" y="668"/>
                </a:cubicBezTo>
                <a:cubicBezTo>
                  <a:pt x="179" y="668"/>
                  <a:pt x="179" y="668"/>
                  <a:pt x="179" y="668"/>
                </a:cubicBezTo>
                <a:cubicBezTo>
                  <a:pt x="179" y="665"/>
                  <a:pt x="179" y="663"/>
                  <a:pt x="179" y="663"/>
                </a:cubicBezTo>
                <a:cubicBezTo>
                  <a:pt x="179" y="663"/>
                  <a:pt x="183" y="663"/>
                  <a:pt x="189" y="663"/>
                </a:cubicBezTo>
                <a:cubicBezTo>
                  <a:pt x="195" y="663"/>
                  <a:pt x="196" y="667"/>
                  <a:pt x="196" y="650"/>
                </a:cubicBezTo>
                <a:cubicBezTo>
                  <a:pt x="196" y="633"/>
                  <a:pt x="210" y="566"/>
                  <a:pt x="216" y="540"/>
                </a:cubicBezTo>
                <a:cubicBezTo>
                  <a:pt x="222" y="515"/>
                  <a:pt x="222" y="474"/>
                  <a:pt x="222" y="474"/>
                </a:cubicBezTo>
                <a:cubicBezTo>
                  <a:pt x="222" y="474"/>
                  <a:pt x="226" y="474"/>
                  <a:pt x="235" y="472"/>
                </a:cubicBezTo>
                <a:cubicBezTo>
                  <a:pt x="244" y="471"/>
                  <a:pt x="236" y="454"/>
                  <a:pt x="226" y="423"/>
                </a:cubicBezTo>
                <a:cubicBezTo>
                  <a:pt x="216" y="392"/>
                  <a:pt x="219" y="356"/>
                  <a:pt x="219" y="356"/>
                </a:cubicBezTo>
                <a:cubicBezTo>
                  <a:pt x="219" y="356"/>
                  <a:pt x="236" y="354"/>
                  <a:pt x="244" y="337"/>
                </a:cubicBezTo>
                <a:cubicBezTo>
                  <a:pt x="253" y="320"/>
                  <a:pt x="255" y="293"/>
                  <a:pt x="252" y="271"/>
                </a:cubicBezTo>
                <a:cubicBezTo>
                  <a:pt x="249" y="248"/>
                  <a:pt x="247" y="213"/>
                  <a:pt x="240" y="193"/>
                </a:cubicBezTo>
                <a:cubicBezTo>
                  <a:pt x="233" y="173"/>
                  <a:pt x="203" y="172"/>
                  <a:pt x="203" y="172"/>
                </a:cubicBezTo>
                <a:cubicBezTo>
                  <a:pt x="203" y="172"/>
                  <a:pt x="204" y="162"/>
                  <a:pt x="196" y="151"/>
                </a:cubicBezTo>
                <a:cubicBezTo>
                  <a:pt x="187" y="141"/>
                  <a:pt x="185" y="129"/>
                  <a:pt x="183" y="111"/>
                </a:cubicBezTo>
                <a:cubicBezTo>
                  <a:pt x="181" y="93"/>
                  <a:pt x="176" y="81"/>
                  <a:pt x="176" y="70"/>
                </a:cubicBezTo>
                <a:cubicBezTo>
                  <a:pt x="176" y="59"/>
                  <a:pt x="173" y="61"/>
                  <a:pt x="168" y="41"/>
                </a:cubicBezTo>
                <a:cubicBezTo>
                  <a:pt x="164" y="21"/>
                  <a:pt x="145" y="0"/>
                  <a:pt x="122" y="0"/>
                </a:cubicBezTo>
                <a:cubicBezTo>
                  <a:pt x="122" y="0"/>
                  <a:pt x="122" y="0"/>
                  <a:pt x="122" y="0"/>
                </a:cubicBezTo>
                <a:cubicBezTo>
                  <a:pt x="85" y="0"/>
                  <a:pt x="76" y="55"/>
                  <a:pt x="73" y="73"/>
                </a:cubicBezTo>
                <a:cubicBezTo>
                  <a:pt x="70" y="90"/>
                  <a:pt x="66" y="101"/>
                  <a:pt x="72" y="115"/>
                </a:cubicBezTo>
                <a:cubicBezTo>
                  <a:pt x="77" y="128"/>
                  <a:pt x="70" y="132"/>
                  <a:pt x="57" y="143"/>
                </a:cubicBezTo>
                <a:cubicBezTo>
                  <a:pt x="44" y="153"/>
                  <a:pt x="55" y="165"/>
                  <a:pt x="55" y="165"/>
                </a:cubicBezTo>
                <a:cubicBezTo>
                  <a:pt x="55" y="165"/>
                  <a:pt x="42" y="173"/>
                  <a:pt x="31" y="175"/>
                </a:cubicBezTo>
                <a:cubicBezTo>
                  <a:pt x="21" y="176"/>
                  <a:pt x="10" y="212"/>
                  <a:pt x="8" y="232"/>
                </a:cubicBezTo>
                <a:cubicBezTo>
                  <a:pt x="6" y="252"/>
                  <a:pt x="5" y="251"/>
                  <a:pt x="2" y="266"/>
                </a:cubicBezTo>
                <a:cubicBezTo>
                  <a:pt x="0" y="281"/>
                  <a:pt x="1" y="318"/>
                  <a:pt x="2" y="344"/>
                </a:cubicBezTo>
                <a:cubicBezTo>
                  <a:pt x="4" y="370"/>
                  <a:pt x="35" y="371"/>
                  <a:pt x="35" y="371"/>
                </a:cubicBezTo>
                <a:close/>
              </a:path>
            </a:pathLst>
          </a:custGeom>
          <a:solidFill>
            <a:schemeClr val="bg2">
              <a:lumMod val="9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Freeform 8"/>
          <p:cNvSpPr>
            <a:spLocks noEditPoints="1"/>
          </p:cNvSpPr>
          <p:nvPr userDrawn="1"/>
        </p:nvSpPr>
        <p:spPr bwMode="auto">
          <a:xfrm>
            <a:off x="1905404" y="5169161"/>
            <a:ext cx="1127768" cy="1694275"/>
          </a:xfrm>
          <a:custGeom>
            <a:avLst/>
            <a:gdLst/>
            <a:ahLst/>
            <a:cxnLst>
              <a:cxn ang="0">
                <a:pos x="10" y="295"/>
              </a:cxn>
              <a:cxn ang="0">
                <a:pos x="35" y="332"/>
              </a:cxn>
              <a:cxn ang="0">
                <a:pos x="39" y="359"/>
              </a:cxn>
              <a:cxn ang="0">
                <a:pos x="72" y="384"/>
              </a:cxn>
              <a:cxn ang="0">
                <a:pos x="72" y="434"/>
              </a:cxn>
              <a:cxn ang="0">
                <a:pos x="173" y="527"/>
              </a:cxn>
              <a:cxn ang="0">
                <a:pos x="242" y="386"/>
              </a:cxn>
              <a:cxn ang="0">
                <a:pos x="264" y="377"/>
              </a:cxn>
              <a:cxn ang="0">
                <a:pos x="283" y="361"/>
              </a:cxn>
              <a:cxn ang="0">
                <a:pos x="302" y="341"/>
              </a:cxn>
              <a:cxn ang="0">
                <a:pos x="307" y="337"/>
              </a:cxn>
              <a:cxn ang="0">
                <a:pos x="337" y="313"/>
              </a:cxn>
              <a:cxn ang="0">
                <a:pos x="362" y="262"/>
              </a:cxn>
              <a:cxn ang="0">
                <a:pos x="363" y="253"/>
              </a:cxn>
              <a:cxn ang="0">
                <a:pos x="347" y="219"/>
              </a:cxn>
              <a:cxn ang="0">
                <a:pos x="282" y="155"/>
              </a:cxn>
              <a:cxn ang="0">
                <a:pos x="235" y="142"/>
              </a:cxn>
              <a:cxn ang="0">
                <a:pos x="224" y="139"/>
              </a:cxn>
              <a:cxn ang="0">
                <a:pos x="203" y="125"/>
              </a:cxn>
              <a:cxn ang="0">
                <a:pos x="201" y="123"/>
              </a:cxn>
              <a:cxn ang="0">
                <a:pos x="202" y="115"/>
              </a:cxn>
              <a:cxn ang="0">
                <a:pos x="217" y="87"/>
              </a:cxn>
              <a:cxn ang="0">
                <a:pos x="121" y="39"/>
              </a:cxn>
              <a:cxn ang="0">
                <a:pos x="122" y="73"/>
              </a:cxn>
              <a:cxn ang="0">
                <a:pos x="120" y="97"/>
              </a:cxn>
              <a:cxn ang="0">
                <a:pos x="137" y="124"/>
              </a:cxn>
              <a:cxn ang="0">
                <a:pos x="95" y="137"/>
              </a:cxn>
              <a:cxn ang="0">
                <a:pos x="15" y="212"/>
              </a:cxn>
              <a:cxn ang="0">
                <a:pos x="17" y="221"/>
              </a:cxn>
              <a:cxn ang="0">
                <a:pos x="10" y="225"/>
              </a:cxn>
              <a:cxn ang="0">
                <a:pos x="10" y="234"/>
              </a:cxn>
              <a:cxn ang="0">
                <a:pos x="7" y="242"/>
              </a:cxn>
              <a:cxn ang="0">
                <a:pos x="1" y="252"/>
              </a:cxn>
              <a:cxn ang="0">
                <a:pos x="247" y="333"/>
              </a:cxn>
              <a:cxn ang="0">
                <a:pos x="247" y="333"/>
              </a:cxn>
              <a:cxn ang="0">
                <a:pos x="247" y="333"/>
              </a:cxn>
              <a:cxn ang="0">
                <a:pos x="289" y="261"/>
              </a:cxn>
              <a:cxn ang="0">
                <a:pos x="294" y="263"/>
              </a:cxn>
              <a:cxn ang="0">
                <a:pos x="305" y="267"/>
              </a:cxn>
              <a:cxn ang="0">
                <a:pos x="296" y="289"/>
              </a:cxn>
              <a:cxn ang="0">
                <a:pos x="283" y="299"/>
              </a:cxn>
              <a:cxn ang="0">
                <a:pos x="278" y="311"/>
              </a:cxn>
              <a:cxn ang="0">
                <a:pos x="277" y="312"/>
              </a:cxn>
              <a:cxn ang="0">
                <a:pos x="264" y="322"/>
              </a:cxn>
              <a:cxn ang="0">
                <a:pos x="257" y="329"/>
              </a:cxn>
              <a:cxn ang="0">
                <a:pos x="257" y="330"/>
              </a:cxn>
              <a:cxn ang="0">
                <a:pos x="255" y="332"/>
              </a:cxn>
              <a:cxn ang="0">
                <a:pos x="253" y="332"/>
              </a:cxn>
              <a:cxn ang="0">
                <a:pos x="252" y="333"/>
              </a:cxn>
              <a:cxn ang="0">
                <a:pos x="248" y="334"/>
              </a:cxn>
              <a:cxn ang="0">
                <a:pos x="247" y="334"/>
              </a:cxn>
              <a:cxn ang="0">
                <a:pos x="247" y="333"/>
              </a:cxn>
            </a:cxnLst>
            <a:rect l="0" t="0" r="r" b="b"/>
            <a:pathLst>
              <a:path w="364" h="547">
                <a:moveTo>
                  <a:pt x="4" y="267"/>
                </a:moveTo>
                <a:cubicBezTo>
                  <a:pt x="4" y="276"/>
                  <a:pt x="9" y="282"/>
                  <a:pt x="9" y="283"/>
                </a:cubicBezTo>
                <a:cubicBezTo>
                  <a:pt x="9" y="284"/>
                  <a:pt x="7" y="290"/>
                  <a:pt x="10" y="295"/>
                </a:cubicBezTo>
                <a:cubicBezTo>
                  <a:pt x="13" y="302"/>
                  <a:pt x="27" y="318"/>
                  <a:pt x="28" y="319"/>
                </a:cubicBezTo>
                <a:cubicBezTo>
                  <a:pt x="29" y="320"/>
                  <a:pt x="29" y="321"/>
                  <a:pt x="29" y="324"/>
                </a:cubicBezTo>
                <a:cubicBezTo>
                  <a:pt x="30" y="328"/>
                  <a:pt x="35" y="332"/>
                  <a:pt x="35" y="332"/>
                </a:cubicBezTo>
                <a:cubicBezTo>
                  <a:pt x="35" y="333"/>
                  <a:pt x="35" y="333"/>
                  <a:pt x="35" y="333"/>
                </a:cubicBezTo>
                <a:cubicBezTo>
                  <a:pt x="35" y="334"/>
                  <a:pt x="35" y="338"/>
                  <a:pt x="36" y="345"/>
                </a:cubicBezTo>
                <a:cubicBezTo>
                  <a:pt x="36" y="354"/>
                  <a:pt x="37" y="358"/>
                  <a:pt x="39" y="359"/>
                </a:cubicBezTo>
                <a:cubicBezTo>
                  <a:pt x="42" y="361"/>
                  <a:pt x="47" y="358"/>
                  <a:pt x="47" y="358"/>
                </a:cubicBezTo>
                <a:cubicBezTo>
                  <a:pt x="47" y="358"/>
                  <a:pt x="55" y="370"/>
                  <a:pt x="59" y="375"/>
                </a:cubicBezTo>
                <a:cubicBezTo>
                  <a:pt x="62" y="380"/>
                  <a:pt x="68" y="384"/>
                  <a:pt x="72" y="384"/>
                </a:cubicBezTo>
                <a:cubicBezTo>
                  <a:pt x="77" y="383"/>
                  <a:pt x="78" y="379"/>
                  <a:pt x="80" y="380"/>
                </a:cubicBezTo>
                <a:cubicBezTo>
                  <a:pt x="82" y="381"/>
                  <a:pt x="86" y="380"/>
                  <a:pt x="86" y="380"/>
                </a:cubicBezTo>
                <a:cubicBezTo>
                  <a:pt x="86" y="380"/>
                  <a:pt x="75" y="398"/>
                  <a:pt x="72" y="434"/>
                </a:cubicBezTo>
                <a:cubicBezTo>
                  <a:pt x="72" y="447"/>
                  <a:pt x="80" y="493"/>
                  <a:pt x="91" y="547"/>
                </a:cubicBezTo>
                <a:cubicBezTo>
                  <a:pt x="174" y="547"/>
                  <a:pt x="174" y="547"/>
                  <a:pt x="174" y="547"/>
                </a:cubicBezTo>
                <a:cubicBezTo>
                  <a:pt x="173" y="540"/>
                  <a:pt x="173" y="534"/>
                  <a:pt x="173" y="527"/>
                </a:cubicBezTo>
                <a:cubicBezTo>
                  <a:pt x="175" y="529"/>
                  <a:pt x="178" y="537"/>
                  <a:pt x="182" y="547"/>
                </a:cubicBezTo>
                <a:cubicBezTo>
                  <a:pt x="267" y="547"/>
                  <a:pt x="267" y="547"/>
                  <a:pt x="267" y="547"/>
                </a:cubicBezTo>
                <a:cubicBezTo>
                  <a:pt x="259" y="493"/>
                  <a:pt x="250" y="439"/>
                  <a:pt x="242" y="386"/>
                </a:cubicBezTo>
                <a:cubicBezTo>
                  <a:pt x="243" y="385"/>
                  <a:pt x="244" y="385"/>
                  <a:pt x="245" y="384"/>
                </a:cubicBezTo>
                <a:cubicBezTo>
                  <a:pt x="245" y="384"/>
                  <a:pt x="247" y="388"/>
                  <a:pt x="250" y="388"/>
                </a:cubicBezTo>
                <a:cubicBezTo>
                  <a:pt x="253" y="387"/>
                  <a:pt x="259" y="382"/>
                  <a:pt x="264" y="377"/>
                </a:cubicBezTo>
                <a:cubicBezTo>
                  <a:pt x="268" y="372"/>
                  <a:pt x="272" y="370"/>
                  <a:pt x="276" y="367"/>
                </a:cubicBezTo>
                <a:cubicBezTo>
                  <a:pt x="278" y="366"/>
                  <a:pt x="281" y="363"/>
                  <a:pt x="282" y="361"/>
                </a:cubicBezTo>
                <a:cubicBezTo>
                  <a:pt x="283" y="361"/>
                  <a:pt x="283" y="361"/>
                  <a:pt x="283" y="361"/>
                </a:cubicBezTo>
                <a:cubicBezTo>
                  <a:pt x="283" y="362"/>
                  <a:pt x="284" y="362"/>
                  <a:pt x="285" y="361"/>
                </a:cubicBezTo>
                <a:cubicBezTo>
                  <a:pt x="285" y="361"/>
                  <a:pt x="286" y="360"/>
                  <a:pt x="286" y="359"/>
                </a:cubicBezTo>
                <a:cubicBezTo>
                  <a:pt x="289" y="355"/>
                  <a:pt x="297" y="346"/>
                  <a:pt x="302" y="341"/>
                </a:cubicBezTo>
                <a:cubicBezTo>
                  <a:pt x="303" y="340"/>
                  <a:pt x="304" y="339"/>
                  <a:pt x="305" y="339"/>
                </a:cubicBezTo>
                <a:cubicBezTo>
                  <a:pt x="306" y="338"/>
                  <a:pt x="307" y="338"/>
                  <a:pt x="307" y="337"/>
                </a:cubicBezTo>
                <a:cubicBezTo>
                  <a:pt x="307" y="337"/>
                  <a:pt x="307" y="337"/>
                  <a:pt x="307" y="337"/>
                </a:cubicBezTo>
                <a:cubicBezTo>
                  <a:pt x="311" y="337"/>
                  <a:pt x="319" y="329"/>
                  <a:pt x="327" y="322"/>
                </a:cubicBezTo>
                <a:cubicBezTo>
                  <a:pt x="331" y="319"/>
                  <a:pt x="334" y="316"/>
                  <a:pt x="337" y="313"/>
                </a:cubicBezTo>
                <a:cubicBezTo>
                  <a:pt x="337" y="313"/>
                  <a:pt x="337" y="313"/>
                  <a:pt x="337" y="313"/>
                </a:cubicBezTo>
                <a:cubicBezTo>
                  <a:pt x="344" y="307"/>
                  <a:pt x="346" y="303"/>
                  <a:pt x="349" y="298"/>
                </a:cubicBezTo>
                <a:cubicBezTo>
                  <a:pt x="350" y="295"/>
                  <a:pt x="351" y="293"/>
                  <a:pt x="353" y="291"/>
                </a:cubicBezTo>
                <a:cubicBezTo>
                  <a:pt x="356" y="285"/>
                  <a:pt x="360" y="272"/>
                  <a:pt x="362" y="262"/>
                </a:cubicBezTo>
                <a:cubicBezTo>
                  <a:pt x="362" y="260"/>
                  <a:pt x="363" y="258"/>
                  <a:pt x="363" y="257"/>
                </a:cubicBezTo>
                <a:cubicBezTo>
                  <a:pt x="363" y="255"/>
                  <a:pt x="363" y="254"/>
                  <a:pt x="363" y="253"/>
                </a:cubicBezTo>
                <a:cubicBezTo>
                  <a:pt x="363" y="253"/>
                  <a:pt x="363" y="253"/>
                  <a:pt x="363" y="253"/>
                </a:cubicBezTo>
                <a:cubicBezTo>
                  <a:pt x="364" y="247"/>
                  <a:pt x="360" y="242"/>
                  <a:pt x="358" y="240"/>
                </a:cubicBezTo>
                <a:cubicBezTo>
                  <a:pt x="360" y="240"/>
                  <a:pt x="363" y="239"/>
                  <a:pt x="356" y="232"/>
                </a:cubicBezTo>
                <a:cubicBezTo>
                  <a:pt x="352" y="228"/>
                  <a:pt x="349" y="224"/>
                  <a:pt x="347" y="219"/>
                </a:cubicBezTo>
                <a:cubicBezTo>
                  <a:pt x="343" y="213"/>
                  <a:pt x="339" y="207"/>
                  <a:pt x="333" y="203"/>
                </a:cubicBezTo>
                <a:cubicBezTo>
                  <a:pt x="328" y="200"/>
                  <a:pt x="319" y="191"/>
                  <a:pt x="310" y="181"/>
                </a:cubicBezTo>
                <a:cubicBezTo>
                  <a:pt x="299" y="170"/>
                  <a:pt x="288" y="159"/>
                  <a:pt x="282" y="155"/>
                </a:cubicBezTo>
                <a:cubicBezTo>
                  <a:pt x="282" y="155"/>
                  <a:pt x="282" y="155"/>
                  <a:pt x="282" y="155"/>
                </a:cubicBezTo>
                <a:cubicBezTo>
                  <a:pt x="275" y="151"/>
                  <a:pt x="262" y="148"/>
                  <a:pt x="251" y="146"/>
                </a:cubicBezTo>
                <a:cubicBezTo>
                  <a:pt x="243" y="144"/>
                  <a:pt x="237" y="143"/>
                  <a:pt x="235" y="142"/>
                </a:cubicBezTo>
                <a:cubicBezTo>
                  <a:pt x="235" y="142"/>
                  <a:pt x="235" y="142"/>
                  <a:pt x="235" y="142"/>
                </a:cubicBezTo>
                <a:cubicBezTo>
                  <a:pt x="233" y="140"/>
                  <a:pt x="230" y="140"/>
                  <a:pt x="228" y="140"/>
                </a:cubicBezTo>
                <a:cubicBezTo>
                  <a:pt x="226" y="140"/>
                  <a:pt x="224" y="140"/>
                  <a:pt x="224" y="139"/>
                </a:cubicBezTo>
                <a:cubicBezTo>
                  <a:pt x="222" y="137"/>
                  <a:pt x="218" y="138"/>
                  <a:pt x="217" y="139"/>
                </a:cubicBezTo>
                <a:cubicBezTo>
                  <a:pt x="216" y="138"/>
                  <a:pt x="213" y="135"/>
                  <a:pt x="209" y="132"/>
                </a:cubicBezTo>
                <a:cubicBezTo>
                  <a:pt x="206" y="131"/>
                  <a:pt x="204" y="128"/>
                  <a:pt x="203" y="125"/>
                </a:cubicBezTo>
                <a:cubicBezTo>
                  <a:pt x="203" y="125"/>
                  <a:pt x="202" y="124"/>
                  <a:pt x="202" y="124"/>
                </a:cubicBezTo>
                <a:cubicBezTo>
                  <a:pt x="202" y="124"/>
                  <a:pt x="202" y="123"/>
                  <a:pt x="202" y="123"/>
                </a:cubicBezTo>
                <a:cubicBezTo>
                  <a:pt x="201" y="123"/>
                  <a:pt x="201" y="123"/>
                  <a:pt x="201" y="123"/>
                </a:cubicBezTo>
                <a:cubicBezTo>
                  <a:pt x="201" y="123"/>
                  <a:pt x="201" y="123"/>
                  <a:pt x="201" y="123"/>
                </a:cubicBezTo>
                <a:cubicBezTo>
                  <a:pt x="201" y="123"/>
                  <a:pt x="201" y="123"/>
                  <a:pt x="201" y="123"/>
                </a:cubicBezTo>
                <a:cubicBezTo>
                  <a:pt x="201" y="123"/>
                  <a:pt x="201" y="119"/>
                  <a:pt x="202" y="115"/>
                </a:cubicBezTo>
                <a:cubicBezTo>
                  <a:pt x="204" y="112"/>
                  <a:pt x="204" y="105"/>
                  <a:pt x="204" y="105"/>
                </a:cubicBezTo>
                <a:cubicBezTo>
                  <a:pt x="204" y="105"/>
                  <a:pt x="208" y="107"/>
                  <a:pt x="210" y="105"/>
                </a:cubicBezTo>
                <a:cubicBezTo>
                  <a:pt x="211" y="104"/>
                  <a:pt x="215" y="98"/>
                  <a:pt x="217" y="87"/>
                </a:cubicBezTo>
                <a:cubicBezTo>
                  <a:pt x="219" y="76"/>
                  <a:pt x="215" y="75"/>
                  <a:pt x="215" y="75"/>
                </a:cubicBezTo>
                <a:cubicBezTo>
                  <a:pt x="215" y="75"/>
                  <a:pt x="220" y="64"/>
                  <a:pt x="216" y="42"/>
                </a:cubicBezTo>
                <a:cubicBezTo>
                  <a:pt x="209" y="1"/>
                  <a:pt x="132" y="0"/>
                  <a:pt x="121" y="39"/>
                </a:cubicBezTo>
                <a:cubicBezTo>
                  <a:pt x="118" y="49"/>
                  <a:pt x="122" y="73"/>
                  <a:pt x="122" y="73"/>
                </a:cubicBezTo>
                <a:cubicBezTo>
                  <a:pt x="122" y="73"/>
                  <a:pt x="122" y="73"/>
                  <a:pt x="122" y="73"/>
                </a:cubicBezTo>
                <a:cubicBezTo>
                  <a:pt x="122" y="73"/>
                  <a:pt x="122" y="73"/>
                  <a:pt x="122" y="73"/>
                </a:cubicBezTo>
                <a:cubicBezTo>
                  <a:pt x="122" y="73"/>
                  <a:pt x="122" y="73"/>
                  <a:pt x="122" y="73"/>
                </a:cubicBezTo>
                <a:cubicBezTo>
                  <a:pt x="122" y="73"/>
                  <a:pt x="121" y="73"/>
                  <a:pt x="119" y="75"/>
                </a:cubicBezTo>
                <a:cubicBezTo>
                  <a:pt x="115" y="77"/>
                  <a:pt x="119" y="87"/>
                  <a:pt x="120" y="97"/>
                </a:cubicBezTo>
                <a:cubicBezTo>
                  <a:pt x="122" y="106"/>
                  <a:pt x="131" y="106"/>
                  <a:pt x="131" y="106"/>
                </a:cubicBezTo>
                <a:cubicBezTo>
                  <a:pt x="131" y="106"/>
                  <a:pt x="130" y="107"/>
                  <a:pt x="132" y="114"/>
                </a:cubicBezTo>
                <a:cubicBezTo>
                  <a:pt x="134" y="121"/>
                  <a:pt x="137" y="124"/>
                  <a:pt x="137" y="124"/>
                </a:cubicBezTo>
                <a:cubicBezTo>
                  <a:pt x="137" y="124"/>
                  <a:pt x="129" y="126"/>
                  <a:pt x="123" y="125"/>
                </a:cubicBezTo>
                <a:cubicBezTo>
                  <a:pt x="117" y="125"/>
                  <a:pt x="113" y="127"/>
                  <a:pt x="108" y="131"/>
                </a:cubicBezTo>
                <a:cubicBezTo>
                  <a:pt x="103" y="135"/>
                  <a:pt x="97" y="136"/>
                  <a:pt x="95" y="137"/>
                </a:cubicBezTo>
                <a:cubicBezTo>
                  <a:pt x="92" y="138"/>
                  <a:pt x="17" y="178"/>
                  <a:pt x="13" y="187"/>
                </a:cubicBezTo>
                <a:cubicBezTo>
                  <a:pt x="10" y="193"/>
                  <a:pt x="13" y="206"/>
                  <a:pt x="16" y="214"/>
                </a:cubicBezTo>
                <a:cubicBezTo>
                  <a:pt x="15" y="212"/>
                  <a:pt x="15" y="212"/>
                  <a:pt x="15" y="212"/>
                </a:cubicBezTo>
                <a:cubicBezTo>
                  <a:pt x="16" y="217"/>
                  <a:pt x="16" y="217"/>
                  <a:pt x="16" y="217"/>
                </a:cubicBezTo>
                <a:cubicBezTo>
                  <a:pt x="16" y="217"/>
                  <a:pt x="16" y="217"/>
                  <a:pt x="16" y="217"/>
                </a:cubicBezTo>
                <a:cubicBezTo>
                  <a:pt x="17" y="220"/>
                  <a:pt x="17" y="221"/>
                  <a:pt x="17" y="221"/>
                </a:cubicBezTo>
                <a:cubicBezTo>
                  <a:pt x="17" y="222"/>
                  <a:pt x="17" y="222"/>
                  <a:pt x="16" y="222"/>
                </a:cubicBezTo>
                <a:cubicBezTo>
                  <a:pt x="15" y="223"/>
                  <a:pt x="14" y="223"/>
                  <a:pt x="13" y="223"/>
                </a:cubicBezTo>
                <a:cubicBezTo>
                  <a:pt x="11" y="223"/>
                  <a:pt x="10" y="224"/>
                  <a:pt x="10" y="225"/>
                </a:cubicBezTo>
                <a:cubicBezTo>
                  <a:pt x="9" y="225"/>
                  <a:pt x="9" y="227"/>
                  <a:pt x="9" y="228"/>
                </a:cubicBezTo>
                <a:cubicBezTo>
                  <a:pt x="9" y="228"/>
                  <a:pt x="9" y="229"/>
                  <a:pt x="10" y="230"/>
                </a:cubicBezTo>
                <a:cubicBezTo>
                  <a:pt x="10" y="232"/>
                  <a:pt x="10" y="234"/>
                  <a:pt x="10" y="234"/>
                </a:cubicBezTo>
                <a:cubicBezTo>
                  <a:pt x="10" y="234"/>
                  <a:pt x="10" y="234"/>
                  <a:pt x="10" y="234"/>
                </a:cubicBezTo>
                <a:cubicBezTo>
                  <a:pt x="10" y="235"/>
                  <a:pt x="9" y="236"/>
                  <a:pt x="9" y="237"/>
                </a:cubicBezTo>
                <a:cubicBezTo>
                  <a:pt x="8" y="239"/>
                  <a:pt x="7" y="240"/>
                  <a:pt x="7" y="242"/>
                </a:cubicBezTo>
                <a:cubicBezTo>
                  <a:pt x="7" y="242"/>
                  <a:pt x="7" y="242"/>
                  <a:pt x="7" y="242"/>
                </a:cubicBezTo>
                <a:cubicBezTo>
                  <a:pt x="6" y="243"/>
                  <a:pt x="6" y="243"/>
                  <a:pt x="5" y="244"/>
                </a:cubicBezTo>
                <a:cubicBezTo>
                  <a:pt x="4" y="246"/>
                  <a:pt x="2" y="248"/>
                  <a:pt x="1" y="252"/>
                </a:cubicBezTo>
                <a:cubicBezTo>
                  <a:pt x="0" y="254"/>
                  <a:pt x="0" y="256"/>
                  <a:pt x="2" y="258"/>
                </a:cubicBezTo>
                <a:cubicBezTo>
                  <a:pt x="3" y="260"/>
                  <a:pt x="4" y="262"/>
                  <a:pt x="4" y="267"/>
                </a:cubicBezTo>
                <a:close/>
                <a:moveTo>
                  <a:pt x="247" y="333"/>
                </a:moveTo>
                <a:cubicBezTo>
                  <a:pt x="247" y="333"/>
                  <a:pt x="247" y="333"/>
                  <a:pt x="247" y="333"/>
                </a:cubicBezTo>
                <a:cubicBezTo>
                  <a:pt x="247" y="333"/>
                  <a:pt x="247" y="333"/>
                  <a:pt x="247" y="333"/>
                </a:cubicBezTo>
                <a:cubicBezTo>
                  <a:pt x="247" y="333"/>
                  <a:pt x="247" y="333"/>
                  <a:pt x="247" y="333"/>
                </a:cubicBezTo>
                <a:cubicBezTo>
                  <a:pt x="247" y="333"/>
                  <a:pt x="247" y="333"/>
                  <a:pt x="247" y="333"/>
                </a:cubicBezTo>
                <a:cubicBezTo>
                  <a:pt x="247" y="333"/>
                  <a:pt x="247" y="333"/>
                  <a:pt x="247" y="333"/>
                </a:cubicBezTo>
                <a:cubicBezTo>
                  <a:pt x="247" y="333"/>
                  <a:pt x="247" y="333"/>
                  <a:pt x="247" y="333"/>
                </a:cubicBezTo>
                <a:cubicBezTo>
                  <a:pt x="249" y="330"/>
                  <a:pt x="267" y="252"/>
                  <a:pt x="269" y="245"/>
                </a:cubicBezTo>
                <a:cubicBezTo>
                  <a:pt x="271" y="246"/>
                  <a:pt x="282" y="255"/>
                  <a:pt x="283" y="258"/>
                </a:cubicBezTo>
                <a:cubicBezTo>
                  <a:pt x="285" y="260"/>
                  <a:pt x="287" y="261"/>
                  <a:pt x="289" y="261"/>
                </a:cubicBezTo>
                <a:cubicBezTo>
                  <a:pt x="290" y="261"/>
                  <a:pt x="290" y="261"/>
                  <a:pt x="291" y="261"/>
                </a:cubicBezTo>
                <a:cubicBezTo>
                  <a:pt x="291" y="261"/>
                  <a:pt x="291" y="261"/>
                  <a:pt x="291" y="261"/>
                </a:cubicBezTo>
                <a:cubicBezTo>
                  <a:pt x="292" y="261"/>
                  <a:pt x="293" y="262"/>
                  <a:pt x="294" y="263"/>
                </a:cubicBezTo>
                <a:cubicBezTo>
                  <a:pt x="295" y="263"/>
                  <a:pt x="296" y="264"/>
                  <a:pt x="299" y="265"/>
                </a:cubicBezTo>
                <a:cubicBezTo>
                  <a:pt x="301" y="265"/>
                  <a:pt x="302" y="265"/>
                  <a:pt x="303" y="264"/>
                </a:cubicBezTo>
                <a:cubicBezTo>
                  <a:pt x="303" y="265"/>
                  <a:pt x="304" y="267"/>
                  <a:pt x="305" y="267"/>
                </a:cubicBezTo>
                <a:cubicBezTo>
                  <a:pt x="304" y="268"/>
                  <a:pt x="301" y="273"/>
                  <a:pt x="300" y="277"/>
                </a:cubicBezTo>
                <a:cubicBezTo>
                  <a:pt x="299" y="280"/>
                  <a:pt x="298" y="282"/>
                  <a:pt x="298" y="283"/>
                </a:cubicBezTo>
                <a:cubicBezTo>
                  <a:pt x="297" y="286"/>
                  <a:pt x="297" y="287"/>
                  <a:pt x="296" y="289"/>
                </a:cubicBezTo>
                <a:cubicBezTo>
                  <a:pt x="295" y="290"/>
                  <a:pt x="293" y="291"/>
                  <a:pt x="292" y="291"/>
                </a:cubicBezTo>
                <a:cubicBezTo>
                  <a:pt x="290" y="292"/>
                  <a:pt x="289" y="293"/>
                  <a:pt x="287" y="294"/>
                </a:cubicBezTo>
                <a:cubicBezTo>
                  <a:pt x="284" y="296"/>
                  <a:pt x="284" y="297"/>
                  <a:pt x="283" y="299"/>
                </a:cubicBezTo>
                <a:cubicBezTo>
                  <a:pt x="283" y="300"/>
                  <a:pt x="283" y="301"/>
                  <a:pt x="283" y="302"/>
                </a:cubicBezTo>
                <a:cubicBezTo>
                  <a:pt x="282" y="305"/>
                  <a:pt x="280" y="308"/>
                  <a:pt x="279" y="310"/>
                </a:cubicBezTo>
                <a:cubicBezTo>
                  <a:pt x="278" y="311"/>
                  <a:pt x="278" y="311"/>
                  <a:pt x="278" y="311"/>
                </a:cubicBezTo>
                <a:cubicBezTo>
                  <a:pt x="278" y="312"/>
                  <a:pt x="277" y="312"/>
                  <a:pt x="277" y="312"/>
                </a:cubicBezTo>
                <a:cubicBezTo>
                  <a:pt x="277" y="312"/>
                  <a:pt x="277" y="312"/>
                  <a:pt x="277" y="312"/>
                </a:cubicBezTo>
                <a:cubicBezTo>
                  <a:pt x="277" y="312"/>
                  <a:pt x="277" y="312"/>
                  <a:pt x="277" y="312"/>
                </a:cubicBezTo>
                <a:cubicBezTo>
                  <a:pt x="275" y="313"/>
                  <a:pt x="271" y="316"/>
                  <a:pt x="267" y="319"/>
                </a:cubicBezTo>
                <a:cubicBezTo>
                  <a:pt x="267" y="319"/>
                  <a:pt x="266" y="320"/>
                  <a:pt x="265" y="320"/>
                </a:cubicBezTo>
                <a:cubicBezTo>
                  <a:pt x="265" y="321"/>
                  <a:pt x="264" y="321"/>
                  <a:pt x="264" y="322"/>
                </a:cubicBezTo>
                <a:cubicBezTo>
                  <a:pt x="263" y="323"/>
                  <a:pt x="261" y="325"/>
                  <a:pt x="259" y="327"/>
                </a:cubicBezTo>
                <a:cubicBezTo>
                  <a:pt x="259" y="328"/>
                  <a:pt x="258" y="328"/>
                  <a:pt x="258" y="328"/>
                </a:cubicBezTo>
                <a:cubicBezTo>
                  <a:pt x="257" y="329"/>
                  <a:pt x="257" y="329"/>
                  <a:pt x="257" y="329"/>
                </a:cubicBezTo>
                <a:cubicBezTo>
                  <a:pt x="257" y="330"/>
                  <a:pt x="257" y="330"/>
                  <a:pt x="257" y="330"/>
                </a:cubicBezTo>
                <a:cubicBezTo>
                  <a:pt x="257" y="330"/>
                  <a:pt x="257" y="330"/>
                  <a:pt x="257" y="330"/>
                </a:cubicBezTo>
                <a:cubicBezTo>
                  <a:pt x="257" y="330"/>
                  <a:pt x="257" y="330"/>
                  <a:pt x="257" y="330"/>
                </a:cubicBezTo>
                <a:cubicBezTo>
                  <a:pt x="256" y="330"/>
                  <a:pt x="256" y="330"/>
                  <a:pt x="256" y="331"/>
                </a:cubicBezTo>
                <a:cubicBezTo>
                  <a:pt x="256" y="331"/>
                  <a:pt x="256" y="331"/>
                  <a:pt x="256" y="331"/>
                </a:cubicBezTo>
                <a:cubicBezTo>
                  <a:pt x="255" y="331"/>
                  <a:pt x="255" y="331"/>
                  <a:pt x="255" y="332"/>
                </a:cubicBezTo>
                <a:cubicBezTo>
                  <a:pt x="255" y="332"/>
                  <a:pt x="255" y="332"/>
                  <a:pt x="254" y="332"/>
                </a:cubicBezTo>
                <a:cubicBezTo>
                  <a:pt x="254" y="332"/>
                  <a:pt x="254" y="332"/>
                  <a:pt x="254" y="332"/>
                </a:cubicBezTo>
                <a:cubicBezTo>
                  <a:pt x="254" y="332"/>
                  <a:pt x="254" y="332"/>
                  <a:pt x="253" y="332"/>
                </a:cubicBezTo>
                <a:cubicBezTo>
                  <a:pt x="253" y="332"/>
                  <a:pt x="253" y="332"/>
                  <a:pt x="253" y="332"/>
                </a:cubicBezTo>
                <a:cubicBezTo>
                  <a:pt x="253" y="333"/>
                  <a:pt x="252" y="333"/>
                  <a:pt x="252" y="333"/>
                </a:cubicBezTo>
                <a:cubicBezTo>
                  <a:pt x="252" y="333"/>
                  <a:pt x="252" y="333"/>
                  <a:pt x="252" y="333"/>
                </a:cubicBezTo>
                <a:cubicBezTo>
                  <a:pt x="251" y="333"/>
                  <a:pt x="250" y="333"/>
                  <a:pt x="249" y="334"/>
                </a:cubicBezTo>
                <a:cubicBezTo>
                  <a:pt x="249" y="334"/>
                  <a:pt x="249" y="334"/>
                  <a:pt x="249" y="334"/>
                </a:cubicBezTo>
                <a:cubicBezTo>
                  <a:pt x="249" y="334"/>
                  <a:pt x="248" y="334"/>
                  <a:pt x="248" y="334"/>
                </a:cubicBezTo>
                <a:cubicBezTo>
                  <a:pt x="248" y="334"/>
                  <a:pt x="248" y="334"/>
                  <a:pt x="248" y="334"/>
                </a:cubicBezTo>
                <a:cubicBezTo>
                  <a:pt x="248" y="334"/>
                  <a:pt x="247" y="334"/>
                  <a:pt x="247" y="334"/>
                </a:cubicBezTo>
                <a:cubicBezTo>
                  <a:pt x="247" y="334"/>
                  <a:pt x="247" y="334"/>
                  <a:pt x="247" y="334"/>
                </a:cubicBezTo>
                <a:cubicBezTo>
                  <a:pt x="247" y="334"/>
                  <a:pt x="247" y="334"/>
                  <a:pt x="247" y="334"/>
                </a:cubicBezTo>
                <a:cubicBezTo>
                  <a:pt x="247" y="334"/>
                  <a:pt x="247" y="334"/>
                  <a:pt x="247" y="334"/>
                </a:cubicBezTo>
                <a:cubicBezTo>
                  <a:pt x="247" y="333"/>
                  <a:pt x="247" y="333"/>
                  <a:pt x="247" y="333"/>
                </a:cubicBezTo>
                <a:cubicBezTo>
                  <a:pt x="247" y="333"/>
                  <a:pt x="247" y="333"/>
                  <a:pt x="247" y="333"/>
                </a:cubicBezTo>
                <a:close/>
              </a:path>
            </a:pathLst>
          </a:custGeom>
          <a:solidFill>
            <a:srgbClr val="F5F5F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9"/>
          <p:cNvSpPr>
            <a:spLocks noEditPoints="1"/>
          </p:cNvSpPr>
          <p:nvPr userDrawn="1"/>
        </p:nvSpPr>
        <p:spPr bwMode="auto">
          <a:xfrm>
            <a:off x="811731" y="5169161"/>
            <a:ext cx="1127768" cy="1694275"/>
          </a:xfrm>
          <a:custGeom>
            <a:avLst/>
            <a:gdLst/>
            <a:ahLst/>
            <a:cxnLst>
              <a:cxn ang="0">
                <a:pos x="11" y="295"/>
              </a:cxn>
              <a:cxn ang="0">
                <a:pos x="35" y="332"/>
              </a:cxn>
              <a:cxn ang="0">
                <a:pos x="40" y="359"/>
              </a:cxn>
              <a:cxn ang="0">
                <a:pos x="73" y="384"/>
              </a:cxn>
              <a:cxn ang="0">
                <a:pos x="73" y="434"/>
              </a:cxn>
              <a:cxn ang="0">
                <a:pos x="173" y="527"/>
              </a:cxn>
              <a:cxn ang="0">
                <a:pos x="242" y="386"/>
              </a:cxn>
              <a:cxn ang="0">
                <a:pos x="264" y="377"/>
              </a:cxn>
              <a:cxn ang="0">
                <a:pos x="283" y="361"/>
              </a:cxn>
              <a:cxn ang="0">
                <a:pos x="303" y="341"/>
              </a:cxn>
              <a:cxn ang="0">
                <a:pos x="308" y="337"/>
              </a:cxn>
              <a:cxn ang="0">
                <a:pos x="337" y="313"/>
              </a:cxn>
              <a:cxn ang="0">
                <a:pos x="362" y="262"/>
              </a:cxn>
              <a:cxn ang="0">
                <a:pos x="364" y="253"/>
              </a:cxn>
              <a:cxn ang="0">
                <a:pos x="347" y="219"/>
              </a:cxn>
              <a:cxn ang="0">
                <a:pos x="282" y="155"/>
              </a:cxn>
              <a:cxn ang="0">
                <a:pos x="236" y="142"/>
              </a:cxn>
              <a:cxn ang="0">
                <a:pos x="224" y="139"/>
              </a:cxn>
              <a:cxn ang="0">
                <a:pos x="203" y="125"/>
              </a:cxn>
              <a:cxn ang="0">
                <a:pos x="202" y="123"/>
              </a:cxn>
              <a:cxn ang="0">
                <a:pos x="202" y="115"/>
              </a:cxn>
              <a:cxn ang="0">
                <a:pos x="217" y="87"/>
              </a:cxn>
              <a:cxn ang="0">
                <a:pos x="121" y="39"/>
              </a:cxn>
              <a:cxn ang="0">
                <a:pos x="123" y="73"/>
              </a:cxn>
              <a:cxn ang="0">
                <a:pos x="121" y="97"/>
              </a:cxn>
              <a:cxn ang="0">
                <a:pos x="137" y="124"/>
              </a:cxn>
              <a:cxn ang="0">
                <a:pos x="95" y="137"/>
              </a:cxn>
              <a:cxn ang="0">
                <a:pos x="15" y="212"/>
              </a:cxn>
              <a:cxn ang="0">
                <a:pos x="18" y="221"/>
              </a:cxn>
              <a:cxn ang="0">
                <a:pos x="10" y="225"/>
              </a:cxn>
              <a:cxn ang="0">
                <a:pos x="10" y="234"/>
              </a:cxn>
              <a:cxn ang="0">
                <a:pos x="7" y="242"/>
              </a:cxn>
              <a:cxn ang="0">
                <a:pos x="1" y="252"/>
              </a:cxn>
              <a:cxn ang="0">
                <a:pos x="247" y="333"/>
              </a:cxn>
              <a:cxn ang="0">
                <a:pos x="248" y="333"/>
              </a:cxn>
              <a:cxn ang="0">
                <a:pos x="248" y="333"/>
              </a:cxn>
              <a:cxn ang="0">
                <a:pos x="290" y="261"/>
              </a:cxn>
              <a:cxn ang="0">
                <a:pos x="295" y="263"/>
              </a:cxn>
              <a:cxn ang="0">
                <a:pos x="305" y="267"/>
              </a:cxn>
              <a:cxn ang="0">
                <a:pos x="296" y="289"/>
              </a:cxn>
              <a:cxn ang="0">
                <a:pos x="284" y="299"/>
              </a:cxn>
              <a:cxn ang="0">
                <a:pos x="278" y="311"/>
              </a:cxn>
              <a:cxn ang="0">
                <a:pos x="277" y="312"/>
              </a:cxn>
              <a:cxn ang="0">
                <a:pos x="264" y="322"/>
              </a:cxn>
              <a:cxn ang="0">
                <a:pos x="257" y="329"/>
              </a:cxn>
              <a:cxn ang="0">
                <a:pos x="257" y="330"/>
              </a:cxn>
              <a:cxn ang="0">
                <a:pos x="255" y="332"/>
              </a:cxn>
              <a:cxn ang="0">
                <a:pos x="254" y="332"/>
              </a:cxn>
              <a:cxn ang="0">
                <a:pos x="252" y="333"/>
              </a:cxn>
              <a:cxn ang="0">
                <a:pos x="249" y="334"/>
              </a:cxn>
              <a:cxn ang="0">
                <a:pos x="248" y="334"/>
              </a:cxn>
              <a:cxn ang="0">
                <a:pos x="247" y="333"/>
              </a:cxn>
            </a:cxnLst>
            <a:rect l="0" t="0" r="r" b="b"/>
            <a:pathLst>
              <a:path w="364" h="547">
                <a:moveTo>
                  <a:pt x="5" y="267"/>
                </a:moveTo>
                <a:cubicBezTo>
                  <a:pt x="5" y="276"/>
                  <a:pt x="9" y="282"/>
                  <a:pt x="10" y="283"/>
                </a:cubicBezTo>
                <a:cubicBezTo>
                  <a:pt x="9" y="284"/>
                  <a:pt x="8" y="290"/>
                  <a:pt x="11" y="295"/>
                </a:cubicBezTo>
                <a:cubicBezTo>
                  <a:pt x="14" y="302"/>
                  <a:pt x="28" y="318"/>
                  <a:pt x="29" y="319"/>
                </a:cubicBezTo>
                <a:cubicBezTo>
                  <a:pt x="29" y="320"/>
                  <a:pt x="29" y="321"/>
                  <a:pt x="30" y="324"/>
                </a:cubicBezTo>
                <a:cubicBezTo>
                  <a:pt x="30" y="328"/>
                  <a:pt x="35" y="332"/>
                  <a:pt x="35" y="332"/>
                </a:cubicBezTo>
                <a:cubicBezTo>
                  <a:pt x="35" y="333"/>
                  <a:pt x="35" y="333"/>
                  <a:pt x="35" y="333"/>
                </a:cubicBezTo>
                <a:cubicBezTo>
                  <a:pt x="35" y="334"/>
                  <a:pt x="35" y="338"/>
                  <a:pt x="36" y="345"/>
                </a:cubicBezTo>
                <a:cubicBezTo>
                  <a:pt x="37" y="354"/>
                  <a:pt x="37" y="358"/>
                  <a:pt x="40" y="359"/>
                </a:cubicBezTo>
                <a:cubicBezTo>
                  <a:pt x="42" y="361"/>
                  <a:pt x="47" y="358"/>
                  <a:pt x="47" y="358"/>
                </a:cubicBezTo>
                <a:cubicBezTo>
                  <a:pt x="47" y="358"/>
                  <a:pt x="56" y="370"/>
                  <a:pt x="59" y="375"/>
                </a:cubicBezTo>
                <a:cubicBezTo>
                  <a:pt x="62" y="380"/>
                  <a:pt x="68" y="384"/>
                  <a:pt x="73" y="384"/>
                </a:cubicBezTo>
                <a:cubicBezTo>
                  <a:pt x="78" y="383"/>
                  <a:pt x="78" y="379"/>
                  <a:pt x="80" y="380"/>
                </a:cubicBezTo>
                <a:cubicBezTo>
                  <a:pt x="82" y="381"/>
                  <a:pt x="86" y="380"/>
                  <a:pt x="86" y="380"/>
                </a:cubicBezTo>
                <a:cubicBezTo>
                  <a:pt x="86" y="380"/>
                  <a:pt x="75" y="398"/>
                  <a:pt x="73" y="434"/>
                </a:cubicBezTo>
                <a:cubicBezTo>
                  <a:pt x="72" y="447"/>
                  <a:pt x="80" y="493"/>
                  <a:pt x="91" y="547"/>
                </a:cubicBezTo>
                <a:cubicBezTo>
                  <a:pt x="174" y="547"/>
                  <a:pt x="174" y="547"/>
                  <a:pt x="174" y="547"/>
                </a:cubicBezTo>
                <a:cubicBezTo>
                  <a:pt x="174" y="540"/>
                  <a:pt x="174" y="534"/>
                  <a:pt x="173" y="527"/>
                </a:cubicBezTo>
                <a:cubicBezTo>
                  <a:pt x="176" y="529"/>
                  <a:pt x="179" y="537"/>
                  <a:pt x="182" y="547"/>
                </a:cubicBezTo>
                <a:cubicBezTo>
                  <a:pt x="268" y="547"/>
                  <a:pt x="268" y="547"/>
                  <a:pt x="268" y="547"/>
                </a:cubicBezTo>
                <a:cubicBezTo>
                  <a:pt x="259" y="493"/>
                  <a:pt x="250" y="439"/>
                  <a:pt x="242" y="386"/>
                </a:cubicBezTo>
                <a:cubicBezTo>
                  <a:pt x="243" y="385"/>
                  <a:pt x="244" y="385"/>
                  <a:pt x="246" y="384"/>
                </a:cubicBezTo>
                <a:cubicBezTo>
                  <a:pt x="246" y="384"/>
                  <a:pt x="247" y="388"/>
                  <a:pt x="250" y="388"/>
                </a:cubicBezTo>
                <a:cubicBezTo>
                  <a:pt x="254" y="387"/>
                  <a:pt x="260" y="382"/>
                  <a:pt x="264" y="377"/>
                </a:cubicBezTo>
                <a:cubicBezTo>
                  <a:pt x="268" y="372"/>
                  <a:pt x="272" y="370"/>
                  <a:pt x="276" y="367"/>
                </a:cubicBezTo>
                <a:cubicBezTo>
                  <a:pt x="278" y="366"/>
                  <a:pt x="281" y="363"/>
                  <a:pt x="283" y="361"/>
                </a:cubicBezTo>
                <a:cubicBezTo>
                  <a:pt x="283" y="361"/>
                  <a:pt x="283" y="361"/>
                  <a:pt x="283" y="361"/>
                </a:cubicBezTo>
                <a:cubicBezTo>
                  <a:pt x="284" y="362"/>
                  <a:pt x="284" y="362"/>
                  <a:pt x="285" y="361"/>
                </a:cubicBezTo>
                <a:cubicBezTo>
                  <a:pt x="286" y="361"/>
                  <a:pt x="286" y="360"/>
                  <a:pt x="286" y="359"/>
                </a:cubicBezTo>
                <a:cubicBezTo>
                  <a:pt x="289" y="355"/>
                  <a:pt x="297" y="346"/>
                  <a:pt x="303" y="341"/>
                </a:cubicBezTo>
                <a:cubicBezTo>
                  <a:pt x="304" y="340"/>
                  <a:pt x="305" y="339"/>
                  <a:pt x="306" y="339"/>
                </a:cubicBezTo>
                <a:cubicBezTo>
                  <a:pt x="307" y="338"/>
                  <a:pt x="307" y="338"/>
                  <a:pt x="308" y="337"/>
                </a:cubicBezTo>
                <a:cubicBezTo>
                  <a:pt x="308" y="337"/>
                  <a:pt x="308" y="337"/>
                  <a:pt x="308" y="337"/>
                </a:cubicBezTo>
                <a:cubicBezTo>
                  <a:pt x="311" y="337"/>
                  <a:pt x="320" y="329"/>
                  <a:pt x="328" y="322"/>
                </a:cubicBezTo>
                <a:cubicBezTo>
                  <a:pt x="331" y="319"/>
                  <a:pt x="334" y="316"/>
                  <a:pt x="337" y="313"/>
                </a:cubicBezTo>
                <a:cubicBezTo>
                  <a:pt x="337" y="313"/>
                  <a:pt x="337" y="313"/>
                  <a:pt x="337" y="313"/>
                </a:cubicBezTo>
                <a:cubicBezTo>
                  <a:pt x="344" y="307"/>
                  <a:pt x="347" y="303"/>
                  <a:pt x="349" y="298"/>
                </a:cubicBezTo>
                <a:cubicBezTo>
                  <a:pt x="350" y="295"/>
                  <a:pt x="351" y="293"/>
                  <a:pt x="353" y="291"/>
                </a:cubicBezTo>
                <a:cubicBezTo>
                  <a:pt x="357" y="285"/>
                  <a:pt x="360" y="272"/>
                  <a:pt x="362" y="262"/>
                </a:cubicBezTo>
                <a:cubicBezTo>
                  <a:pt x="363" y="260"/>
                  <a:pt x="363" y="258"/>
                  <a:pt x="363" y="257"/>
                </a:cubicBezTo>
                <a:cubicBezTo>
                  <a:pt x="364" y="255"/>
                  <a:pt x="364" y="254"/>
                  <a:pt x="364" y="253"/>
                </a:cubicBezTo>
                <a:cubicBezTo>
                  <a:pt x="364" y="253"/>
                  <a:pt x="364" y="253"/>
                  <a:pt x="364" y="253"/>
                </a:cubicBezTo>
                <a:cubicBezTo>
                  <a:pt x="364" y="247"/>
                  <a:pt x="360" y="242"/>
                  <a:pt x="358" y="240"/>
                </a:cubicBezTo>
                <a:cubicBezTo>
                  <a:pt x="360" y="240"/>
                  <a:pt x="363" y="239"/>
                  <a:pt x="356" y="232"/>
                </a:cubicBezTo>
                <a:cubicBezTo>
                  <a:pt x="352" y="228"/>
                  <a:pt x="350" y="224"/>
                  <a:pt x="347" y="219"/>
                </a:cubicBezTo>
                <a:cubicBezTo>
                  <a:pt x="343" y="213"/>
                  <a:pt x="339" y="207"/>
                  <a:pt x="333" y="203"/>
                </a:cubicBezTo>
                <a:cubicBezTo>
                  <a:pt x="329" y="200"/>
                  <a:pt x="320" y="191"/>
                  <a:pt x="310" y="181"/>
                </a:cubicBezTo>
                <a:cubicBezTo>
                  <a:pt x="299" y="170"/>
                  <a:pt x="288" y="159"/>
                  <a:pt x="282" y="155"/>
                </a:cubicBezTo>
                <a:cubicBezTo>
                  <a:pt x="282" y="155"/>
                  <a:pt x="282" y="155"/>
                  <a:pt x="282" y="155"/>
                </a:cubicBezTo>
                <a:cubicBezTo>
                  <a:pt x="276" y="151"/>
                  <a:pt x="262" y="148"/>
                  <a:pt x="251" y="146"/>
                </a:cubicBezTo>
                <a:cubicBezTo>
                  <a:pt x="244" y="144"/>
                  <a:pt x="238" y="143"/>
                  <a:pt x="236" y="142"/>
                </a:cubicBezTo>
                <a:cubicBezTo>
                  <a:pt x="236" y="142"/>
                  <a:pt x="236" y="142"/>
                  <a:pt x="236" y="142"/>
                </a:cubicBezTo>
                <a:cubicBezTo>
                  <a:pt x="233" y="140"/>
                  <a:pt x="230" y="140"/>
                  <a:pt x="228" y="140"/>
                </a:cubicBezTo>
                <a:cubicBezTo>
                  <a:pt x="226" y="140"/>
                  <a:pt x="225" y="140"/>
                  <a:pt x="224" y="139"/>
                </a:cubicBezTo>
                <a:cubicBezTo>
                  <a:pt x="222" y="137"/>
                  <a:pt x="218" y="138"/>
                  <a:pt x="217" y="139"/>
                </a:cubicBezTo>
                <a:cubicBezTo>
                  <a:pt x="217" y="138"/>
                  <a:pt x="213" y="135"/>
                  <a:pt x="209" y="132"/>
                </a:cubicBezTo>
                <a:cubicBezTo>
                  <a:pt x="206" y="131"/>
                  <a:pt x="204" y="128"/>
                  <a:pt x="203" y="125"/>
                </a:cubicBezTo>
                <a:cubicBezTo>
                  <a:pt x="203" y="125"/>
                  <a:pt x="203" y="124"/>
                  <a:pt x="202" y="124"/>
                </a:cubicBezTo>
                <a:cubicBezTo>
                  <a:pt x="202" y="124"/>
                  <a:pt x="202" y="123"/>
                  <a:pt x="202" y="123"/>
                </a:cubicBezTo>
                <a:cubicBezTo>
                  <a:pt x="202" y="123"/>
                  <a:pt x="202" y="123"/>
                  <a:pt x="202" y="123"/>
                </a:cubicBezTo>
                <a:cubicBezTo>
                  <a:pt x="202" y="123"/>
                  <a:pt x="202" y="123"/>
                  <a:pt x="202" y="123"/>
                </a:cubicBezTo>
                <a:cubicBezTo>
                  <a:pt x="201" y="123"/>
                  <a:pt x="201" y="123"/>
                  <a:pt x="201" y="123"/>
                </a:cubicBezTo>
                <a:cubicBezTo>
                  <a:pt x="201" y="123"/>
                  <a:pt x="201" y="119"/>
                  <a:pt x="202" y="115"/>
                </a:cubicBezTo>
                <a:cubicBezTo>
                  <a:pt x="204" y="112"/>
                  <a:pt x="205" y="105"/>
                  <a:pt x="205" y="105"/>
                </a:cubicBezTo>
                <a:cubicBezTo>
                  <a:pt x="205" y="105"/>
                  <a:pt x="209" y="107"/>
                  <a:pt x="210" y="105"/>
                </a:cubicBezTo>
                <a:cubicBezTo>
                  <a:pt x="212" y="104"/>
                  <a:pt x="216" y="98"/>
                  <a:pt x="217" y="87"/>
                </a:cubicBezTo>
                <a:cubicBezTo>
                  <a:pt x="219" y="76"/>
                  <a:pt x="215" y="75"/>
                  <a:pt x="215" y="75"/>
                </a:cubicBezTo>
                <a:cubicBezTo>
                  <a:pt x="215" y="75"/>
                  <a:pt x="220" y="64"/>
                  <a:pt x="216" y="42"/>
                </a:cubicBezTo>
                <a:cubicBezTo>
                  <a:pt x="209" y="1"/>
                  <a:pt x="133" y="0"/>
                  <a:pt x="121" y="39"/>
                </a:cubicBezTo>
                <a:cubicBezTo>
                  <a:pt x="118" y="49"/>
                  <a:pt x="123" y="73"/>
                  <a:pt x="123" y="73"/>
                </a:cubicBezTo>
                <a:cubicBezTo>
                  <a:pt x="123" y="73"/>
                  <a:pt x="123" y="73"/>
                  <a:pt x="123" y="73"/>
                </a:cubicBezTo>
                <a:cubicBezTo>
                  <a:pt x="123" y="73"/>
                  <a:pt x="123" y="73"/>
                  <a:pt x="123" y="73"/>
                </a:cubicBezTo>
                <a:cubicBezTo>
                  <a:pt x="123" y="73"/>
                  <a:pt x="123" y="73"/>
                  <a:pt x="122" y="73"/>
                </a:cubicBezTo>
                <a:cubicBezTo>
                  <a:pt x="122" y="73"/>
                  <a:pt x="121" y="73"/>
                  <a:pt x="119" y="75"/>
                </a:cubicBezTo>
                <a:cubicBezTo>
                  <a:pt x="115" y="77"/>
                  <a:pt x="119" y="87"/>
                  <a:pt x="121" y="97"/>
                </a:cubicBezTo>
                <a:cubicBezTo>
                  <a:pt x="122" y="106"/>
                  <a:pt x="131" y="106"/>
                  <a:pt x="131" y="106"/>
                </a:cubicBezTo>
                <a:cubicBezTo>
                  <a:pt x="131" y="106"/>
                  <a:pt x="130" y="107"/>
                  <a:pt x="132" y="114"/>
                </a:cubicBezTo>
                <a:cubicBezTo>
                  <a:pt x="135" y="121"/>
                  <a:pt x="137" y="124"/>
                  <a:pt x="137" y="124"/>
                </a:cubicBezTo>
                <a:cubicBezTo>
                  <a:pt x="137" y="124"/>
                  <a:pt x="130" y="126"/>
                  <a:pt x="123" y="125"/>
                </a:cubicBezTo>
                <a:cubicBezTo>
                  <a:pt x="117" y="125"/>
                  <a:pt x="114" y="127"/>
                  <a:pt x="109" y="131"/>
                </a:cubicBezTo>
                <a:cubicBezTo>
                  <a:pt x="104" y="135"/>
                  <a:pt x="97" y="136"/>
                  <a:pt x="95" y="137"/>
                </a:cubicBezTo>
                <a:cubicBezTo>
                  <a:pt x="92" y="138"/>
                  <a:pt x="17" y="178"/>
                  <a:pt x="13" y="187"/>
                </a:cubicBezTo>
                <a:cubicBezTo>
                  <a:pt x="11" y="193"/>
                  <a:pt x="14" y="206"/>
                  <a:pt x="16" y="214"/>
                </a:cubicBezTo>
                <a:cubicBezTo>
                  <a:pt x="15" y="212"/>
                  <a:pt x="15" y="212"/>
                  <a:pt x="15" y="212"/>
                </a:cubicBezTo>
                <a:cubicBezTo>
                  <a:pt x="16" y="217"/>
                  <a:pt x="16" y="217"/>
                  <a:pt x="16" y="217"/>
                </a:cubicBezTo>
                <a:cubicBezTo>
                  <a:pt x="17" y="217"/>
                  <a:pt x="17" y="217"/>
                  <a:pt x="17" y="217"/>
                </a:cubicBezTo>
                <a:cubicBezTo>
                  <a:pt x="17" y="220"/>
                  <a:pt x="18" y="221"/>
                  <a:pt x="18" y="221"/>
                </a:cubicBezTo>
                <a:cubicBezTo>
                  <a:pt x="18" y="222"/>
                  <a:pt x="17" y="222"/>
                  <a:pt x="17" y="222"/>
                </a:cubicBezTo>
                <a:cubicBezTo>
                  <a:pt x="16" y="223"/>
                  <a:pt x="15" y="223"/>
                  <a:pt x="13" y="223"/>
                </a:cubicBezTo>
                <a:cubicBezTo>
                  <a:pt x="12" y="223"/>
                  <a:pt x="11" y="224"/>
                  <a:pt x="10" y="225"/>
                </a:cubicBezTo>
                <a:cubicBezTo>
                  <a:pt x="10" y="225"/>
                  <a:pt x="9" y="227"/>
                  <a:pt x="9" y="228"/>
                </a:cubicBezTo>
                <a:cubicBezTo>
                  <a:pt x="9" y="228"/>
                  <a:pt x="10" y="229"/>
                  <a:pt x="10" y="230"/>
                </a:cubicBezTo>
                <a:cubicBezTo>
                  <a:pt x="10" y="232"/>
                  <a:pt x="11" y="234"/>
                  <a:pt x="10" y="234"/>
                </a:cubicBezTo>
                <a:cubicBezTo>
                  <a:pt x="10" y="234"/>
                  <a:pt x="10" y="234"/>
                  <a:pt x="10" y="234"/>
                </a:cubicBezTo>
                <a:cubicBezTo>
                  <a:pt x="10" y="235"/>
                  <a:pt x="10" y="236"/>
                  <a:pt x="9" y="237"/>
                </a:cubicBezTo>
                <a:cubicBezTo>
                  <a:pt x="9" y="239"/>
                  <a:pt x="8" y="240"/>
                  <a:pt x="7" y="242"/>
                </a:cubicBezTo>
                <a:cubicBezTo>
                  <a:pt x="7" y="242"/>
                  <a:pt x="7" y="242"/>
                  <a:pt x="7" y="242"/>
                </a:cubicBezTo>
                <a:cubicBezTo>
                  <a:pt x="7" y="243"/>
                  <a:pt x="6" y="243"/>
                  <a:pt x="5" y="244"/>
                </a:cubicBezTo>
                <a:cubicBezTo>
                  <a:pt x="4" y="246"/>
                  <a:pt x="3" y="248"/>
                  <a:pt x="1" y="252"/>
                </a:cubicBezTo>
                <a:cubicBezTo>
                  <a:pt x="0" y="254"/>
                  <a:pt x="1" y="256"/>
                  <a:pt x="2" y="258"/>
                </a:cubicBezTo>
                <a:cubicBezTo>
                  <a:pt x="3" y="260"/>
                  <a:pt x="5" y="262"/>
                  <a:pt x="5" y="267"/>
                </a:cubicBezTo>
                <a:close/>
                <a:moveTo>
                  <a:pt x="247" y="333"/>
                </a:moveTo>
                <a:cubicBezTo>
                  <a:pt x="247" y="333"/>
                  <a:pt x="247" y="333"/>
                  <a:pt x="247" y="333"/>
                </a:cubicBezTo>
                <a:cubicBezTo>
                  <a:pt x="247" y="333"/>
                  <a:pt x="247" y="333"/>
                  <a:pt x="248" y="333"/>
                </a:cubicBezTo>
                <a:cubicBezTo>
                  <a:pt x="248" y="333"/>
                  <a:pt x="248" y="333"/>
                  <a:pt x="248" y="333"/>
                </a:cubicBezTo>
                <a:cubicBezTo>
                  <a:pt x="248" y="333"/>
                  <a:pt x="248" y="333"/>
                  <a:pt x="248" y="333"/>
                </a:cubicBezTo>
                <a:cubicBezTo>
                  <a:pt x="248" y="333"/>
                  <a:pt x="248" y="333"/>
                  <a:pt x="248" y="333"/>
                </a:cubicBezTo>
                <a:cubicBezTo>
                  <a:pt x="248" y="333"/>
                  <a:pt x="248" y="333"/>
                  <a:pt x="248" y="333"/>
                </a:cubicBezTo>
                <a:cubicBezTo>
                  <a:pt x="249" y="330"/>
                  <a:pt x="268" y="252"/>
                  <a:pt x="269" y="245"/>
                </a:cubicBezTo>
                <a:cubicBezTo>
                  <a:pt x="271" y="246"/>
                  <a:pt x="282" y="255"/>
                  <a:pt x="284" y="258"/>
                </a:cubicBezTo>
                <a:cubicBezTo>
                  <a:pt x="285" y="260"/>
                  <a:pt x="287" y="261"/>
                  <a:pt x="290" y="261"/>
                </a:cubicBezTo>
                <a:cubicBezTo>
                  <a:pt x="290" y="261"/>
                  <a:pt x="291" y="261"/>
                  <a:pt x="291" y="261"/>
                </a:cubicBezTo>
                <a:cubicBezTo>
                  <a:pt x="291" y="261"/>
                  <a:pt x="291" y="261"/>
                  <a:pt x="291" y="261"/>
                </a:cubicBezTo>
                <a:cubicBezTo>
                  <a:pt x="293" y="261"/>
                  <a:pt x="294" y="262"/>
                  <a:pt x="295" y="263"/>
                </a:cubicBezTo>
                <a:cubicBezTo>
                  <a:pt x="296" y="263"/>
                  <a:pt x="297" y="264"/>
                  <a:pt x="299" y="265"/>
                </a:cubicBezTo>
                <a:cubicBezTo>
                  <a:pt x="301" y="265"/>
                  <a:pt x="303" y="265"/>
                  <a:pt x="303" y="264"/>
                </a:cubicBezTo>
                <a:cubicBezTo>
                  <a:pt x="304" y="265"/>
                  <a:pt x="305" y="267"/>
                  <a:pt x="305" y="267"/>
                </a:cubicBezTo>
                <a:cubicBezTo>
                  <a:pt x="305" y="268"/>
                  <a:pt x="302" y="273"/>
                  <a:pt x="300" y="277"/>
                </a:cubicBezTo>
                <a:cubicBezTo>
                  <a:pt x="299" y="280"/>
                  <a:pt x="299" y="282"/>
                  <a:pt x="298" y="283"/>
                </a:cubicBezTo>
                <a:cubicBezTo>
                  <a:pt x="298" y="286"/>
                  <a:pt x="297" y="287"/>
                  <a:pt x="296" y="289"/>
                </a:cubicBezTo>
                <a:cubicBezTo>
                  <a:pt x="295" y="290"/>
                  <a:pt x="294" y="291"/>
                  <a:pt x="292" y="291"/>
                </a:cubicBezTo>
                <a:cubicBezTo>
                  <a:pt x="291" y="292"/>
                  <a:pt x="289" y="293"/>
                  <a:pt x="287" y="294"/>
                </a:cubicBezTo>
                <a:cubicBezTo>
                  <a:pt x="284" y="296"/>
                  <a:pt x="284" y="297"/>
                  <a:pt x="284" y="299"/>
                </a:cubicBezTo>
                <a:cubicBezTo>
                  <a:pt x="283" y="300"/>
                  <a:pt x="283" y="301"/>
                  <a:pt x="283" y="302"/>
                </a:cubicBezTo>
                <a:cubicBezTo>
                  <a:pt x="282" y="305"/>
                  <a:pt x="281" y="308"/>
                  <a:pt x="279" y="310"/>
                </a:cubicBezTo>
                <a:cubicBezTo>
                  <a:pt x="279" y="311"/>
                  <a:pt x="279" y="311"/>
                  <a:pt x="278" y="311"/>
                </a:cubicBezTo>
                <a:cubicBezTo>
                  <a:pt x="278" y="312"/>
                  <a:pt x="278" y="312"/>
                  <a:pt x="277" y="312"/>
                </a:cubicBezTo>
                <a:cubicBezTo>
                  <a:pt x="277" y="312"/>
                  <a:pt x="277" y="312"/>
                  <a:pt x="277" y="312"/>
                </a:cubicBezTo>
                <a:cubicBezTo>
                  <a:pt x="277" y="312"/>
                  <a:pt x="277" y="312"/>
                  <a:pt x="277" y="312"/>
                </a:cubicBezTo>
                <a:cubicBezTo>
                  <a:pt x="275" y="313"/>
                  <a:pt x="271" y="316"/>
                  <a:pt x="268" y="319"/>
                </a:cubicBezTo>
                <a:cubicBezTo>
                  <a:pt x="267" y="319"/>
                  <a:pt x="266" y="320"/>
                  <a:pt x="266" y="320"/>
                </a:cubicBezTo>
                <a:cubicBezTo>
                  <a:pt x="265" y="321"/>
                  <a:pt x="265" y="321"/>
                  <a:pt x="264" y="322"/>
                </a:cubicBezTo>
                <a:cubicBezTo>
                  <a:pt x="263" y="323"/>
                  <a:pt x="261" y="325"/>
                  <a:pt x="259" y="327"/>
                </a:cubicBezTo>
                <a:cubicBezTo>
                  <a:pt x="259" y="328"/>
                  <a:pt x="259" y="328"/>
                  <a:pt x="258" y="328"/>
                </a:cubicBezTo>
                <a:cubicBezTo>
                  <a:pt x="258" y="329"/>
                  <a:pt x="258" y="329"/>
                  <a:pt x="257" y="329"/>
                </a:cubicBezTo>
                <a:cubicBezTo>
                  <a:pt x="257" y="330"/>
                  <a:pt x="257" y="330"/>
                  <a:pt x="257" y="330"/>
                </a:cubicBezTo>
                <a:cubicBezTo>
                  <a:pt x="257" y="330"/>
                  <a:pt x="257" y="330"/>
                  <a:pt x="257" y="330"/>
                </a:cubicBezTo>
                <a:cubicBezTo>
                  <a:pt x="257" y="330"/>
                  <a:pt x="257" y="330"/>
                  <a:pt x="257" y="330"/>
                </a:cubicBezTo>
                <a:cubicBezTo>
                  <a:pt x="257" y="330"/>
                  <a:pt x="257" y="330"/>
                  <a:pt x="256" y="331"/>
                </a:cubicBezTo>
                <a:cubicBezTo>
                  <a:pt x="256" y="331"/>
                  <a:pt x="256" y="331"/>
                  <a:pt x="256" y="331"/>
                </a:cubicBezTo>
                <a:cubicBezTo>
                  <a:pt x="256" y="331"/>
                  <a:pt x="255" y="331"/>
                  <a:pt x="255" y="332"/>
                </a:cubicBezTo>
                <a:cubicBezTo>
                  <a:pt x="255" y="332"/>
                  <a:pt x="255" y="332"/>
                  <a:pt x="255" y="332"/>
                </a:cubicBezTo>
                <a:cubicBezTo>
                  <a:pt x="255" y="332"/>
                  <a:pt x="255" y="332"/>
                  <a:pt x="255" y="332"/>
                </a:cubicBezTo>
                <a:cubicBezTo>
                  <a:pt x="254" y="332"/>
                  <a:pt x="254" y="332"/>
                  <a:pt x="254" y="332"/>
                </a:cubicBezTo>
                <a:cubicBezTo>
                  <a:pt x="254" y="332"/>
                  <a:pt x="254" y="332"/>
                  <a:pt x="253" y="332"/>
                </a:cubicBezTo>
                <a:cubicBezTo>
                  <a:pt x="253" y="333"/>
                  <a:pt x="253" y="333"/>
                  <a:pt x="252" y="333"/>
                </a:cubicBezTo>
                <a:cubicBezTo>
                  <a:pt x="252" y="333"/>
                  <a:pt x="252" y="333"/>
                  <a:pt x="252" y="333"/>
                </a:cubicBezTo>
                <a:cubicBezTo>
                  <a:pt x="251" y="333"/>
                  <a:pt x="251" y="333"/>
                  <a:pt x="250" y="334"/>
                </a:cubicBezTo>
                <a:cubicBezTo>
                  <a:pt x="250" y="334"/>
                  <a:pt x="250" y="334"/>
                  <a:pt x="250" y="334"/>
                </a:cubicBezTo>
                <a:cubicBezTo>
                  <a:pt x="249" y="334"/>
                  <a:pt x="249" y="334"/>
                  <a:pt x="249" y="334"/>
                </a:cubicBezTo>
                <a:cubicBezTo>
                  <a:pt x="249" y="334"/>
                  <a:pt x="248" y="334"/>
                  <a:pt x="248" y="334"/>
                </a:cubicBezTo>
                <a:cubicBezTo>
                  <a:pt x="248" y="334"/>
                  <a:pt x="248" y="334"/>
                  <a:pt x="248" y="334"/>
                </a:cubicBezTo>
                <a:cubicBezTo>
                  <a:pt x="248" y="334"/>
                  <a:pt x="248" y="334"/>
                  <a:pt x="248" y="334"/>
                </a:cubicBezTo>
                <a:cubicBezTo>
                  <a:pt x="248" y="334"/>
                  <a:pt x="247" y="334"/>
                  <a:pt x="247" y="334"/>
                </a:cubicBezTo>
                <a:cubicBezTo>
                  <a:pt x="248" y="334"/>
                  <a:pt x="248" y="334"/>
                  <a:pt x="248" y="334"/>
                </a:cubicBezTo>
                <a:cubicBezTo>
                  <a:pt x="247" y="333"/>
                  <a:pt x="247" y="333"/>
                  <a:pt x="247" y="333"/>
                </a:cubicBezTo>
                <a:cubicBezTo>
                  <a:pt x="247" y="333"/>
                  <a:pt x="247" y="333"/>
                  <a:pt x="247" y="333"/>
                </a:cubicBez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0"/>
          <p:cNvSpPr>
            <a:spLocks/>
          </p:cNvSpPr>
          <p:nvPr userDrawn="1"/>
        </p:nvSpPr>
        <p:spPr bwMode="auto">
          <a:xfrm>
            <a:off x="3103985" y="5295052"/>
            <a:ext cx="1136948" cy="1568384"/>
          </a:xfrm>
          <a:custGeom>
            <a:avLst/>
            <a:gdLst/>
            <a:ahLst/>
            <a:cxnLst>
              <a:cxn ang="0">
                <a:pos x="6" y="465"/>
              </a:cxn>
              <a:cxn ang="0">
                <a:pos x="8" y="488"/>
              </a:cxn>
              <a:cxn ang="0">
                <a:pos x="7" y="502"/>
              </a:cxn>
              <a:cxn ang="0">
                <a:pos x="45" y="506"/>
              </a:cxn>
              <a:cxn ang="0">
                <a:pos x="55" y="477"/>
              </a:cxn>
              <a:cxn ang="0">
                <a:pos x="69" y="442"/>
              </a:cxn>
              <a:cxn ang="0">
                <a:pos x="74" y="405"/>
              </a:cxn>
              <a:cxn ang="0">
                <a:pos x="75" y="407"/>
              </a:cxn>
              <a:cxn ang="0">
                <a:pos x="82" y="442"/>
              </a:cxn>
              <a:cxn ang="0">
                <a:pos x="327" y="506"/>
              </a:cxn>
              <a:cxn ang="0">
                <a:pos x="305" y="391"/>
              </a:cxn>
              <a:cxn ang="0">
                <a:pos x="318" y="367"/>
              </a:cxn>
              <a:cxn ang="0">
                <a:pos x="351" y="344"/>
              </a:cxn>
              <a:cxn ang="0">
                <a:pos x="365" y="289"/>
              </a:cxn>
              <a:cxn ang="0">
                <a:pos x="345" y="257"/>
              </a:cxn>
              <a:cxn ang="0">
                <a:pos x="311" y="206"/>
              </a:cxn>
              <a:cxn ang="0">
                <a:pos x="282" y="186"/>
              </a:cxn>
              <a:cxn ang="0">
                <a:pos x="242" y="172"/>
              </a:cxn>
              <a:cxn ang="0">
                <a:pos x="206" y="152"/>
              </a:cxn>
              <a:cxn ang="0">
                <a:pos x="201" y="146"/>
              </a:cxn>
              <a:cxn ang="0">
                <a:pos x="201" y="144"/>
              </a:cxn>
              <a:cxn ang="0">
                <a:pos x="200" y="142"/>
              </a:cxn>
              <a:cxn ang="0">
                <a:pos x="200" y="141"/>
              </a:cxn>
              <a:cxn ang="0">
                <a:pos x="200" y="139"/>
              </a:cxn>
              <a:cxn ang="0">
                <a:pos x="200" y="137"/>
              </a:cxn>
              <a:cxn ang="0">
                <a:pos x="202" y="119"/>
              </a:cxn>
              <a:cxn ang="0">
                <a:pos x="214" y="91"/>
              </a:cxn>
              <a:cxn ang="0">
                <a:pos x="210" y="83"/>
              </a:cxn>
              <a:cxn ang="0">
                <a:pos x="210" y="82"/>
              </a:cxn>
              <a:cxn ang="0">
                <a:pos x="210" y="81"/>
              </a:cxn>
              <a:cxn ang="0">
                <a:pos x="210" y="79"/>
              </a:cxn>
              <a:cxn ang="0">
                <a:pos x="210" y="77"/>
              </a:cxn>
              <a:cxn ang="0">
                <a:pos x="210" y="74"/>
              </a:cxn>
              <a:cxn ang="0">
                <a:pos x="211" y="71"/>
              </a:cxn>
              <a:cxn ang="0">
                <a:pos x="211" y="69"/>
              </a:cxn>
              <a:cxn ang="0">
                <a:pos x="211" y="65"/>
              </a:cxn>
              <a:cxn ang="0">
                <a:pos x="211" y="62"/>
              </a:cxn>
              <a:cxn ang="0">
                <a:pos x="210" y="59"/>
              </a:cxn>
              <a:cxn ang="0">
                <a:pos x="210" y="55"/>
              </a:cxn>
              <a:cxn ang="0">
                <a:pos x="209" y="52"/>
              </a:cxn>
              <a:cxn ang="0">
                <a:pos x="208" y="49"/>
              </a:cxn>
              <a:cxn ang="0">
                <a:pos x="207" y="46"/>
              </a:cxn>
              <a:cxn ang="0">
                <a:pos x="123" y="21"/>
              </a:cxn>
              <a:cxn ang="0">
                <a:pos x="98" y="111"/>
              </a:cxn>
              <a:cxn ang="0">
                <a:pos x="123" y="146"/>
              </a:cxn>
              <a:cxn ang="0">
                <a:pos x="125" y="167"/>
              </a:cxn>
              <a:cxn ang="0">
                <a:pos x="60" y="211"/>
              </a:cxn>
              <a:cxn ang="0">
                <a:pos x="15" y="357"/>
              </a:cxn>
              <a:cxn ang="0">
                <a:pos x="7" y="410"/>
              </a:cxn>
              <a:cxn ang="0">
                <a:pos x="1" y="438"/>
              </a:cxn>
            </a:cxnLst>
            <a:rect l="0" t="0" r="r" b="b"/>
            <a:pathLst>
              <a:path w="367" h="506">
                <a:moveTo>
                  <a:pt x="2" y="454"/>
                </a:moveTo>
                <a:cubicBezTo>
                  <a:pt x="0" y="457"/>
                  <a:pt x="9" y="462"/>
                  <a:pt x="6" y="465"/>
                </a:cubicBezTo>
                <a:cubicBezTo>
                  <a:pt x="4" y="468"/>
                  <a:pt x="9" y="474"/>
                  <a:pt x="8" y="477"/>
                </a:cubicBezTo>
                <a:cubicBezTo>
                  <a:pt x="8" y="480"/>
                  <a:pt x="9" y="485"/>
                  <a:pt x="8" y="488"/>
                </a:cubicBezTo>
                <a:cubicBezTo>
                  <a:pt x="6" y="490"/>
                  <a:pt x="4" y="494"/>
                  <a:pt x="5" y="497"/>
                </a:cubicBezTo>
                <a:cubicBezTo>
                  <a:pt x="7" y="499"/>
                  <a:pt x="7" y="502"/>
                  <a:pt x="7" y="502"/>
                </a:cubicBezTo>
                <a:cubicBezTo>
                  <a:pt x="7" y="506"/>
                  <a:pt x="7" y="506"/>
                  <a:pt x="7" y="506"/>
                </a:cubicBezTo>
                <a:cubicBezTo>
                  <a:pt x="45" y="506"/>
                  <a:pt x="45" y="506"/>
                  <a:pt x="45" y="506"/>
                </a:cubicBezTo>
                <a:cubicBezTo>
                  <a:pt x="46" y="503"/>
                  <a:pt x="47" y="501"/>
                  <a:pt x="48" y="500"/>
                </a:cubicBezTo>
                <a:cubicBezTo>
                  <a:pt x="49" y="497"/>
                  <a:pt x="50" y="484"/>
                  <a:pt x="55" y="477"/>
                </a:cubicBezTo>
                <a:cubicBezTo>
                  <a:pt x="61" y="471"/>
                  <a:pt x="61" y="468"/>
                  <a:pt x="62" y="461"/>
                </a:cubicBezTo>
                <a:cubicBezTo>
                  <a:pt x="63" y="455"/>
                  <a:pt x="66" y="446"/>
                  <a:pt x="69" y="442"/>
                </a:cubicBezTo>
                <a:cubicBezTo>
                  <a:pt x="72" y="438"/>
                  <a:pt x="76" y="430"/>
                  <a:pt x="76" y="423"/>
                </a:cubicBezTo>
                <a:cubicBezTo>
                  <a:pt x="75" y="416"/>
                  <a:pt x="73" y="411"/>
                  <a:pt x="74" y="405"/>
                </a:cubicBezTo>
                <a:cubicBezTo>
                  <a:pt x="74" y="399"/>
                  <a:pt x="78" y="388"/>
                  <a:pt x="78" y="384"/>
                </a:cubicBezTo>
                <a:cubicBezTo>
                  <a:pt x="79" y="380"/>
                  <a:pt x="75" y="405"/>
                  <a:pt x="75" y="407"/>
                </a:cubicBezTo>
                <a:cubicBezTo>
                  <a:pt x="75" y="409"/>
                  <a:pt x="77" y="428"/>
                  <a:pt x="78" y="431"/>
                </a:cubicBezTo>
                <a:cubicBezTo>
                  <a:pt x="78" y="433"/>
                  <a:pt x="82" y="442"/>
                  <a:pt x="82" y="442"/>
                </a:cubicBezTo>
                <a:cubicBezTo>
                  <a:pt x="82" y="442"/>
                  <a:pt x="79" y="471"/>
                  <a:pt x="76" y="506"/>
                </a:cubicBezTo>
                <a:cubicBezTo>
                  <a:pt x="327" y="506"/>
                  <a:pt x="327" y="506"/>
                  <a:pt x="327" y="506"/>
                </a:cubicBezTo>
                <a:cubicBezTo>
                  <a:pt x="323" y="481"/>
                  <a:pt x="319" y="461"/>
                  <a:pt x="319" y="459"/>
                </a:cubicBezTo>
                <a:cubicBezTo>
                  <a:pt x="319" y="452"/>
                  <a:pt x="306" y="399"/>
                  <a:pt x="305" y="391"/>
                </a:cubicBezTo>
                <a:cubicBezTo>
                  <a:pt x="305" y="384"/>
                  <a:pt x="306" y="372"/>
                  <a:pt x="306" y="372"/>
                </a:cubicBezTo>
                <a:cubicBezTo>
                  <a:pt x="306" y="372"/>
                  <a:pt x="312" y="375"/>
                  <a:pt x="318" y="367"/>
                </a:cubicBezTo>
                <a:cubicBezTo>
                  <a:pt x="324" y="360"/>
                  <a:pt x="332" y="352"/>
                  <a:pt x="332" y="352"/>
                </a:cubicBezTo>
                <a:cubicBezTo>
                  <a:pt x="332" y="352"/>
                  <a:pt x="345" y="353"/>
                  <a:pt x="351" y="344"/>
                </a:cubicBezTo>
                <a:cubicBezTo>
                  <a:pt x="357" y="334"/>
                  <a:pt x="364" y="319"/>
                  <a:pt x="364" y="309"/>
                </a:cubicBezTo>
                <a:cubicBezTo>
                  <a:pt x="363" y="300"/>
                  <a:pt x="363" y="294"/>
                  <a:pt x="365" y="289"/>
                </a:cubicBezTo>
                <a:cubicBezTo>
                  <a:pt x="367" y="284"/>
                  <a:pt x="366" y="273"/>
                  <a:pt x="358" y="266"/>
                </a:cubicBezTo>
                <a:cubicBezTo>
                  <a:pt x="350" y="258"/>
                  <a:pt x="351" y="262"/>
                  <a:pt x="345" y="257"/>
                </a:cubicBezTo>
                <a:cubicBezTo>
                  <a:pt x="340" y="253"/>
                  <a:pt x="319" y="222"/>
                  <a:pt x="317" y="218"/>
                </a:cubicBezTo>
                <a:cubicBezTo>
                  <a:pt x="316" y="214"/>
                  <a:pt x="315" y="209"/>
                  <a:pt x="311" y="206"/>
                </a:cubicBezTo>
                <a:cubicBezTo>
                  <a:pt x="307" y="203"/>
                  <a:pt x="287" y="191"/>
                  <a:pt x="286" y="189"/>
                </a:cubicBezTo>
                <a:cubicBezTo>
                  <a:pt x="285" y="186"/>
                  <a:pt x="282" y="186"/>
                  <a:pt x="282" y="186"/>
                </a:cubicBezTo>
                <a:cubicBezTo>
                  <a:pt x="282" y="186"/>
                  <a:pt x="281" y="183"/>
                  <a:pt x="274" y="178"/>
                </a:cubicBezTo>
                <a:cubicBezTo>
                  <a:pt x="268" y="174"/>
                  <a:pt x="254" y="173"/>
                  <a:pt x="242" y="172"/>
                </a:cubicBezTo>
                <a:cubicBezTo>
                  <a:pt x="229" y="171"/>
                  <a:pt x="217" y="168"/>
                  <a:pt x="214" y="164"/>
                </a:cubicBezTo>
                <a:cubicBezTo>
                  <a:pt x="211" y="161"/>
                  <a:pt x="207" y="156"/>
                  <a:pt x="206" y="152"/>
                </a:cubicBezTo>
                <a:cubicBezTo>
                  <a:pt x="204" y="149"/>
                  <a:pt x="201" y="146"/>
                  <a:pt x="201" y="146"/>
                </a:cubicBezTo>
                <a:cubicBezTo>
                  <a:pt x="201" y="146"/>
                  <a:pt x="201" y="146"/>
                  <a:pt x="201" y="146"/>
                </a:cubicBezTo>
                <a:cubicBezTo>
                  <a:pt x="201" y="146"/>
                  <a:pt x="201" y="145"/>
                  <a:pt x="201" y="144"/>
                </a:cubicBezTo>
                <a:cubicBezTo>
                  <a:pt x="201" y="144"/>
                  <a:pt x="201" y="144"/>
                  <a:pt x="201" y="144"/>
                </a:cubicBezTo>
                <a:cubicBezTo>
                  <a:pt x="200" y="144"/>
                  <a:pt x="200" y="143"/>
                  <a:pt x="200" y="143"/>
                </a:cubicBezTo>
                <a:cubicBezTo>
                  <a:pt x="200" y="143"/>
                  <a:pt x="200" y="143"/>
                  <a:pt x="200" y="142"/>
                </a:cubicBezTo>
                <a:cubicBezTo>
                  <a:pt x="200" y="142"/>
                  <a:pt x="200" y="142"/>
                  <a:pt x="200" y="141"/>
                </a:cubicBezTo>
                <a:cubicBezTo>
                  <a:pt x="200" y="141"/>
                  <a:pt x="200" y="141"/>
                  <a:pt x="200" y="141"/>
                </a:cubicBezTo>
                <a:cubicBezTo>
                  <a:pt x="200" y="140"/>
                  <a:pt x="200" y="140"/>
                  <a:pt x="200" y="140"/>
                </a:cubicBezTo>
                <a:cubicBezTo>
                  <a:pt x="200" y="139"/>
                  <a:pt x="200" y="139"/>
                  <a:pt x="200" y="139"/>
                </a:cubicBezTo>
                <a:cubicBezTo>
                  <a:pt x="200" y="138"/>
                  <a:pt x="200" y="138"/>
                  <a:pt x="200" y="138"/>
                </a:cubicBezTo>
                <a:cubicBezTo>
                  <a:pt x="200" y="138"/>
                  <a:pt x="200" y="137"/>
                  <a:pt x="200" y="137"/>
                </a:cubicBezTo>
                <a:cubicBezTo>
                  <a:pt x="200" y="137"/>
                  <a:pt x="200" y="136"/>
                  <a:pt x="200" y="136"/>
                </a:cubicBezTo>
                <a:cubicBezTo>
                  <a:pt x="201" y="132"/>
                  <a:pt x="202" y="121"/>
                  <a:pt x="202" y="119"/>
                </a:cubicBezTo>
                <a:cubicBezTo>
                  <a:pt x="201" y="117"/>
                  <a:pt x="204" y="120"/>
                  <a:pt x="207" y="119"/>
                </a:cubicBezTo>
                <a:cubicBezTo>
                  <a:pt x="211" y="117"/>
                  <a:pt x="214" y="95"/>
                  <a:pt x="214" y="91"/>
                </a:cubicBezTo>
                <a:cubicBezTo>
                  <a:pt x="214" y="86"/>
                  <a:pt x="212" y="82"/>
                  <a:pt x="210" y="83"/>
                </a:cubicBezTo>
                <a:cubicBezTo>
                  <a:pt x="210" y="83"/>
                  <a:pt x="210" y="83"/>
                  <a:pt x="210" y="83"/>
                </a:cubicBezTo>
                <a:cubicBezTo>
                  <a:pt x="210" y="83"/>
                  <a:pt x="210" y="83"/>
                  <a:pt x="210" y="83"/>
                </a:cubicBezTo>
                <a:cubicBezTo>
                  <a:pt x="210" y="82"/>
                  <a:pt x="210" y="82"/>
                  <a:pt x="210" y="82"/>
                </a:cubicBezTo>
                <a:cubicBezTo>
                  <a:pt x="210" y="82"/>
                  <a:pt x="210" y="82"/>
                  <a:pt x="210" y="82"/>
                </a:cubicBezTo>
                <a:cubicBezTo>
                  <a:pt x="210" y="82"/>
                  <a:pt x="210" y="81"/>
                  <a:pt x="210" y="81"/>
                </a:cubicBezTo>
                <a:cubicBezTo>
                  <a:pt x="210" y="81"/>
                  <a:pt x="210" y="81"/>
                  <a:pt x="210" y="80"/>
                </a:cubicBezTo>
                <a:cubicBezTo>
                  <a:pt x="210" y="80"/>
                  <a:pt x="210" y="80"/>
                  <a:pt x="210" y="79"/>
                </a:cubicBezTo>
                <a:cubicBezTo>
                  <a:pt x="210" y="79"/>
                  <a:pt x="210" y="79"/>
                  <a:pt x="210" y="79"/>
                </a:cubicBezTo>
                <a:cubicBezTo>
                  <a:pt x="210" y="78"/>
                  <a:pt x="210" y="77"/>
                  <a:pt x="210" y="77"/>
                </a:cubicBezTo>
                <a:cubicBezTo>
                  <a:pt x="210" y="76"/>
                  <a:pt x="210" y="76"/>
                  <a:pt x="210" y="76"/>
                </a:cubicBezTo>
                <a:cubicBezTo>
                  <a:pt x="210" y="75"/>
                  <a:pt x="210" y="75"/>
                  <a:pt x="210" y="74"/>
                </a:cubicBezTo>
                <a:cubicBezTo>
                  <a:pt x="210" y="74"/>
                  <a:pt x="211" y="73"/>
                  <a:pt x="211" y="73"/>
                </a:cubicBezTo>
                <a:cubicBezTo>
                  <a:pt x="211" y="72"/>
                  <a:pt x="211" y="72"/>
                  <a:pt x="211" y="71"/>
                </a:cubicBezTo>
                <a:cubicBezTo>
                  <a:pt x="211" y="71"/>
                  <a:pt x="211" y="70"/>
                  <a:pt x="211" y="70"/>
                </a:cubicBezTo>
                <a:cubicBezTo>
                  <a:pt x="211" y="70"/>
                  <a:pt x="211" y="69"/>
                  <a:pt x="211" y="69"/>
                </a:cubicBezTo>
                <a:cubicBezTo>
                  <a:pt x="211" y="68"/>
                  <a:pt x="211" y="67"/>
                  <a:pt x="211" y="67"/>
                </a:cubicBezTo>
                <a:cubicBezTo>
                  <a:pt x="211" y="66"/>
                  <a:pt x="211" y="66"/>
                  <a:pt x="211" y="65"/>
                </a:cubicBezTo>
                <a:cubicBezTo>
                  <a:pt x="211" y="65"/>
                  <a:pt x="211" y="64"/>
                  <a:pt x="211" y="64"/>
                </a:cubicBezTo>
                <a:cubicBezTo>
                  <a:pt x="211" y="63"/>
                  <a:pt x="211" y="63"/>
                  <a:pt x="211" y="62"/>
                </a:cubicBezTo>
                <a:cubicBezTo>
                  <a:pt x="211" y="62"/>
                  <a:pt x="210" y="61"/>
                  <a:pt x="210" y="60"/>
                </a:cubicBezTo>
                <a:cubicBezTo>
                  <a:pt x="210" y="60"/>
                  <a:pt x="210" y="59"/>
                  <a:pt x="210" y="59"/>
                </a:cubicBezTo>
                <a:cubicBezTo>
                  <a:pt x="210" y="58"/>
                  <a:pt x="210" y="58"/>
                  <a:pt x="210" y="57"/>
                </a:cubicBezTo>
                <a:cubicBezTo>
                  <a:pt x="210" y="56"/>
                  <a:pt x="210" y="56"/>
                  <a:pt x="210" y="55"/>
                </a:cubicBezTo>
                <a:cubicBezTo>
                  <a:pt x="210" y="55"/>
                  <a:pt x="210" y="54"/>
                  <a:pt x="209" y="54"/>
                </a:cubicBezTo>
                <a:cubicBezTo>
                  <a:pt x="209" y="53"/>
                  <a:pt x="209" y="53"/>
                  <a:pt x="209" y="52"/>
                </a:cubicBezTo>
                <a:cubicBezTo>
                  <a:pt x="209" y="51"/>
                  <a:pt x="209" y="51"/>
                  <a:pt x="209" y="50"/>
                </a:cubicBezTo>
                <a:cubicBezTo>
                  <a:pt x="208" y="50"/>
                  <a:pt x="208" y="49"/>
                  <a:pt x="208" y="49"/>
                </a:cubicBezTo>
                <a:cubicBezTo>
                  <a:pt x="208" y="48"/>
                  <a:pt x="208" y="47"/>
                  <a:pt x="207" y="47"/>
                </a:cubicBezTo>
                <a:cubicBezTo>
                  <a:pt x="207" y="46"/>
                  <a:pt x="207" y="46"/>
                  <a:pt x="207" y="46"/>
                </a:cubicBezTo>
                <a:cubicBezTo>
                  <a:pt x="206" y="44"/>
                  <a:pt x="206" y="43"/>
                  <a:pt x="205" y="43"/>
                </a:cubicBezTo>
                <a:cubicBezTo>
                  <a:pt x="196" y="27"/>
                  <a:pt x="164" y="0"/>
                  <a:pt x="123" y="21"/>
                </a:cubicBezTo>
                <a:cubicBezTo>
                  <a:pt x="81" y="43"/>
                  <a:pt x="100" y="94"/>
                  <a:pt x="100" y="94"/>
                </a:cubicBezTo>
                <a:cubicBezTo>
                  <a:pt x="100" y="94"/>
                  <a:pt x="92" y="94"/>
                  <a:pt x="98" y="111"/>
                </a:cubicBezTo>
                <a:cubicBezTo>
                  <a:pt x="102" y="120"/>
                  <a:pt x="104" y="133"/>
                  <a:pt x="116" y="130"/>
                </a:cubicBezTo>
                <a:cubicBezTo>
                  <a:pt x="116" y="130"/>
                  <a:pt x="121" y="142"/>
                  <a:pt x="123" y="146"/>
                </a:cubicBezTo>
                <a:cubicBezTo>
                  <a:pt x="125" y="150"/>
                  <a:pt x="128" y="158"/>
                  <a:pt x="128" y="158"/>
                </a:cubicBezTo>
                <a:cubicBezTo>
                  <a:pt x="128" y="158"/>
                  <a:pt x="126" y="159"/>
                  <a:pt x="125" y="167"/>
                </a:cubicBezTo>
                <a:cubicBezTo>
                  <a:pt x="124" y="175"/>
                  <a:pt x="123" y="176"/>
                  <a:pt x="123" y="176"/>
                </a:cubicBezTo>
                <a:cubicBezTo>
                  <a:pt x="123" y="176"/>
                  <a:pt x="66" y="205"/>
                  <a:pt x="60" y="211"/>
                </a:cubicBezTo>
                <a:cubicBezTo>
                  <a:pt x="54" y="216"/>
                  <a:pt x="40" y="232"/>
                  <a:pt x="38" y="251"/>
                </a:cubicBezTo>
                <a:cubicBezTo>
                  <a:pt x="36" y="271"/>
                  <a:pt x="15" y="338"/>
                  <a:pt x="15" y="357"/>
                </a:cubicBezTo>
                <a:cubicBezTo>
                  <a:pt x="15" y="377"/>
                  <a:pt x="11" y="388"/>
                  <a:pt x="11" y="391"/>
                </a:cubicBezTo>
                <a:cubicBezTo>
                  <a:pt x="11" y="395"/>
                  <a:pt x="9" y="409"/>
                  <a:pt x="7" y="410"/>
                </a:cubicBezTo>
                <a:cubicBezTo>
                  <a:pt x="6" y="412"/>
                  <a:pt x="10" y="419"/>
                  <a:pt x="9" y="421"/>
                </a:cubicBezTo>
                <a:cubicBezTo>
                  <a:pt x="7" y="423"/>
                  <a:pt x="1" y="431"/>
                  <a:pt x="1" y="438"/>
                </a:cubicBezTo>
                <a:cubicBezTo>
                  <a:pt x="0" y="445"/>
                  <a:pt x="4" y="451"/>
                  <a:pt x="2" y="454"/>
                </a:cubicBezTo>
                <a:close/>
              </a:path>
            </a:pathLst>
          </a:custGeom>
          <a:solidFill>
            <a:srgbClr val="F5F5F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 name="Freeform 11"/>
          <p:cNvSpPr>
            <a:spLocks/>
          </p:cNvSpPr>
          <p:nvPr userDrawn="1"/>
        </p:nvSpPr>
        <p:spPr bwMode="auto">
          <a:xfrm>
            <a:off x="5705720" y="5506180"/>
            <a:ext cx="1136948" cy="1357256"/>
          </a:xfrm>
          <a:custGeom>
            <a:avLst/>
            <a:gdLst/>
            <a:ahLst/>
            <a:cxnLst>
              <a:cxn ang="0">
                <a:pos x="0" y="438"/>
              </a:cxn>
              <a:cxn ang="0">
                <a:pos x="75" y="422"/>
              </a:cxn>
              <a:cxn ang="0">
                <a:pos x="78" y="384"/>
              </a:cxn>
              <a:cxn ang="0">
                <a:pos x="77" y="431"/>
              </a:cxn>
              <a:cxn ang="0">
                <a:pos x="315" y="438"/>
              </a:cxn>
              <a:cxn ang="0">
                <a:pos x="305" y="372"/>
              </a:cxn>
              <a:cxn ang="0">
                <a:pos x="331" y="351"/>
              </a:cxn>
              <a:cxn ang="0">
                <a:pos x="363" y="309"/>
              </a:cxn>
              <a:cxn ang="0">
                <a:pos x="357" y="266"/>
              </a:cxn>
              <a:cxn ang="0">
                <a:pos x="317" y="218"/>
              </a:cxn>
              <a:cxn ang="0">
                <a:pos x="286" y="189"/>
              </a:cxn>
              <a:cxn ang="0">
                <a:pos x="274" y="178"/>
              </a:cxn>
              <a:cxn ang="0">
                <a:pos x="213" y="164"/>
              </a:cxn>
              <a:cxn ang="0">
                <a:pos x="201" y="146"/>
              </a:cxn>
              <a:cxn ang="0">
                <a:pos x="200" y="144"/>
              </a:cxn>
              <a:cxn ang="0">
                <a:pos x="200" y="143"/>
              </a:cxn>
              <a:cxn ang="0">
                <a:pos x="200" y="141"/>
              </a:cxn>
              <a:cxn ang="0">
                <a:pos x="199" y="139"/>
              </a:cxn>
              <a:cxn ang="0">
                <a:pos x="199" y="138"/>
              </a:cxn>
              <a:cxn ang="0">
                <a:pos x="199" y="135"/>
              </a:cxn>
              <a:cxn ang="0">
                <a:pos x="207" y="118"/>
              </a:cxn>
              <a:cxn ang="0">
                <a:pos x="210" y="83"/>
              </a:cxn>
              <a:cxn ang="0">
                <a:pos x="210" y="82"/>
              </a:cxn>
              <a:cxn ang="0">
                <a:pos x="210" y="82"/>
              </a:cxn>
              <a:cxn ang="0">
                <a:pos x="210" y="80"/>
              </a:cxn>
              <a:cxn ang="0">
                <a:pos x="210" y="78"/>
              </a:cxn>
              <a:cxn ang="0">
                <a:pos x="210" y="75"/>
              </a:cxn>
              <a:cxn ang="0">
                <a:pos x="210" y="73"/>
              </a:cxn>
              <a:cxn ang="0">
                <a:pos x="210" y="70"/>
              </a:cxn>
              <a:cxn ang="0">
                <a:pos x="210" y="67"/>
              </a:cxn>
              <a:cxn ang="0">
                <a:pos x="210" y="64"/>
              </a:cxn>
              <a:cxn ang="0">
                <a:pos x="210" y="60"/>
              </a:cxn>
              <a:cxn ang="0">
                <a:pos x="210" y="57"/>
              </a:cxn>
              <a:cxn ang="0">
                <a:pos x="209" y="53"/>
              </a:cxn>
              <a:cxn ang="0">
                <a:pos x="208" y="50"/>
              </a:cxn>
              <a:cxn ang="0">
                <a:pos x="207" y="47"/>
              </a:cxn>
              <a:cxn ang="0">
                <a:pos x="205" y="42"/>
              </a:cxn>
              <a:cxn ang="0">
                <a:pos x="99" y="93"/>
              </a:cxn>
              <a:cxn ang="0">
                <a:pos x="115" y="130"/>
              </a:cxn>
              <a:cxn ang="0">
                <a:pos x="127" y="158"/>
              </a:cxn>
              <a:cxn ang="0">
                <a:pos x="122" y="176"/>
              </a:cxn>
              <a:cxn ang="0">
                <a:pos x="37" y="251"/>
              </a:cxn>
              <a:cxn ang="0">
                <a:pos x="11" y="391"/>
              </a:cxn>
              <a:cxn ang="0">
                <a:pos x="8" y="421"/>
              </a:cxn>
            </a:cxnLst>
            <a:rect l="0" t="0" r="r" b="b"/>
            <a:pathLst>
              <a:path w="367" h="438">
                <a:moveTo>
                  <a:pt x="8" y="421"/>
                </a:moveTo>
                <a:cubicBezTo>
                  <a:pt x="7" y="423"/>
                  <a:pt x="1" y="431"/>
                  <a:pt x="0" y="438"/>
                </a:cubicBezTo>
                <a:cubicBezTo>
                  <a:pt x="71" y="438"/>
                  <a:pt x="71" y="438"/>
                  <a:pt x="71" y="438"/>
                </a:cubicBezTo>
                <a:cubicBezTo>
                  <a:pt x="73" y="434"/>
                  <a:pt x="76" y="428"/>
                  <a:pt x="75" y="422"/>
                </a:cubicBezTo>
                <a:cubicBezTo>
                  <a:pt x="75" y="416"/>
                  <a:pt x="72" y="411"/>
                  <a:pt x="73" y="405"/>
                </a:cubicBezTo>
                <a:cubicBezTo>
                  <a:pt x="74" y="399"/>
                  <a:pt x="77" y="387"/>
                  <a:pt x="78" y="384"/>
                </a:cubicBezTo>
                <a:cubicBezTo>
                  <a:pt x="79" y="380"/>
                  <a:pt x="75" y="404"/>
                  <a:pt x="75" y="407"/>
                </a:cubicBezTo>
                <a:cubicBezTo>
                  <a:pt x="75" y="409"/>
                  <a:pt x="77" y="428"/>
                  <a:pt x="77" y="431"/>
                </a:cubicBezTo>
                <a:cubicBezTo>
                  <a:pt x="78" y="432"/>
                  <a:pt x="79" y="435"/>
                  <a:pt x="80" y="438"/>
                </a:cubicBezTo>
                <a:cubicBezTo>
                  <a:pt x="315" y="438"/>
                  <a:pt x="315" y="438"/>
                  <a:pt x="315" y="438"/>
                </a:cubicBezTo>
                <a:cubicBezTo>
                  <a:pt x="311" y="420"/>
                  <a:pt x="306" y="396"/>
                  <a:pt x="305" y="391"/>
                </a:cubicBezTo>
                <a:cubicBezTo>
                  <a:pt x="304" y="383"/>
                  <a:pt x="305" y="372"/>
                  <a:pt x="305" y="372"/>
                </a:cubicBezTo>
                <a:cubicBezTo>
                  <a:pt x="305" y="372"/>
                  <a:pt x="312" y="374"/>
                  <a:pt x="318" y="367"/>
                </a:cubicBezTo>
                <a:cubicBezTo>
                  <a:pt x="324" y="360"/>
                  <a:pt x="331" y="351"/>
                  <a:pt x="331" y="351"/>
                </a:cubicBezTo>
                <a:cubicBezTo>
                  <a:pt x="331" y="351"/>
                  <a:pt x="344" y="353"/>
                  <a:pt x="351" y="344"/>
                </a:cubicBezTo>
                <a:cubicBezTo>
                  <a:pt x="357" y="334"/>
                  <a:pt x="364" y="318"/>
                  <a:pt x="363" y="309"/>
                </a:cubicBezTo>
                <a:cubicBezTo>
                  <a:pt x="363" y="300"/>
                  <a:pt x="362" y="294"/>
                  <a:pt x="365" y="289"/>
                </a:cubicBezTo>
                <a:cubicBezTo>
                  <a:pt x="367" y="284"/>
                  <a:pt x="365" y="273"/>
                  <a:pt x="357" y="266"/>
                </a:cubicBezTo>
                <a:cubicBezTo>
                  <a:pt x="349" y="258"/>
                  <a:pt x="351" y="261"/>
                  <a:pt x="345" y="257"/>
                </a:cubicBezTo>
                <a:cubicBezTo>
                  <a:pt x="339" y="252"/>
                  <a:pt x="318" y="222"/>
                  <a:pt x="317" y="218"/>
                </a:cubicBezTo>
                <a:cubicBezTo>
                  <a:pt x="315" y="214"/>
                  <a:pt x="314" y="209"/>
                  <a:pt x="311" y="206"/>
                </a:cubicBezTo>
                <a:cubicBezTo>
                  <a:pt x="307" y="203"/>
                  <a:pt x="287" y="191"/>
                  <a:pt x="286" y="189"/>
                </a:cubicBezTo>
                <a:cubicBezTo>
                  <a:pt x="285" y="186"/>
                  <a:pt x="281" y="186"/>
                  <a:pt x="281" y="186"/>
                </a:cubicBezTo>
                <a:cubicBezTo>
                  <a:pt x="281" y="186"/>
                  <a:pt x="281" y="183"/>
                  <a:pt x="274" y="178"/>
                </a:cubicBezTo>
                <a:cubicBezTo>
                  <a:pt x="267" y="174"/>
                  <a:pt x="254" y="173"/>
                  <a:pt x="241" y="172"/>
                </a:cubicBezTo>
                <a:cubicBezTo>
                  <a:pt x="229" y="171"/>
                  <a:pt x="216" y="167"/>
                  <a:pt x="213" y="164"/>
                </a:cubicBezTo>
                <a:cubicBezTo>
                  <a:pt x="211" y="161"/>
                  <a:pt x="207" y="155"/>
                  <a:pt x="205" y="152"/>
                </a:cubicBezTo>
                <a:cubicBezTo>
                  <a:pt x="204" y="148"/>
                  <a:pt x="201" y="146"/>
                  <a:pt x="201" y="146"/>
                </a:cubicBezTo>
                <a:cubicBezTo>
                  <a:pt x="201" y="146"/>
                  <a:pt x="201" y="146"/>
                  <a:pt x="201" y="146"/>
                </a:cubicBezTo>
                <a:cubicBezTo>
                  <a:pt x="201" y="146"/>
                  <a:pt x="200" y="145"/>
                  <a:pt x="200" y="144"/>
                </a:cubicBezTo>
                <a:cubicBezTo>
                  <a:pt x="200" y="144"/>
                  <a:pt x="200" y="144"/>
                  <a:pt x="200" y="144"/>
                </a:cubicBezTo>
                <a:cubicBezTo>
                  <a:pt x="200" y="143"/>
                  <a:pt x="200" y="143"/>
                  <a:pt x="200" y="143"/>
                </a:cubicBezTo>
                <a:cubicBezTo>
                  <a:pt x="200" y="143"/>
                  <a:pt x="200" y="142"/>
                  <a:pt x="200" y="142"/>
                </a:cubicBezTo>
                <a:cubicBezTo>
                  <a:pt x="200" y="142"/>
                  <a:pt x="200" y="141"/>
                  <a:pt x="200" y="141"/>
                </a:cubicBezTo>
                <a:cubicBezTo>
                  <a:pt x="200" y="141"/>
                  <a:pt x="200" y="141"/>
                  <a:pt x="200" y="140"/>
                </a:cubicBezTo>
                <a:cubicBezTo>
                  <a:pt x="199" y="140"/>
                  <a:pt x="199" y="140"/>
                  <a:pt x="199" y="139"/>
                </a:cubicBezTo>
                <a:cubicBezTo>
                  <a:pt x="199" y="139"/>
                  <a:pt x="199" y="139"/>
                  <a:pt x="199" y="139"/>
                </a:cubicBezTo>
                <a:cubicBezTo>
                  <a:pt x="199" y="138"/>
                  <a:pt x="199" y="138"/>
                  <a:pt x="199" y="138"/>
                </a:cubicBezTo>
                <a:cubicBezTo>
                  <a:pt x="199" y="137"/>
                  <a:pt x="199" y="137"/>
                  <a:pt x="199" y="137"/>
                </a:cubicBezTo>
                <a:cubicBezTo>
                  <a:pt x="199" y="136"/>
                  <a:pt x="199" y="136"/>
                  <a:pt x="199" y="135"/>
                </a:cubicBezTo>
                <a:cubicBezTo>
                  <a:pt x="200" y="132"/>
                  <a:pt x="202" y="121"/>
                  <a:pt x="201" y="119"/>
                </a:cubicBezTo>
                <a:cubicBezTo>
                  <a:pt x="201" y="117"/>
                  <a:pt x="203" y="120"/>
                  <a:pt x="207" y="118"/>
                </a:cubicBezTo>
                <a:cubicBezTo>
                  <a:pt x="210" y="117"/>
                  <a:pt x="214" y="95"/>
                  <a:pt x="214" y="91"/>
                </a:cubicBezTo>
                <a:cubicBezTo>
                  <a:pt x="213" y="86"/>
                  <a:pt x="212" y="82"/>
                  <a:pt x="210" y="83"/>
                </a:cubicBezTo>
                <a:cubicBezTo>
                  <a:pt x="210" y="83"/>
                  <a:pt x="210" y="83"/>
                  <a:pt x="210" y="83"/>
                </a:cubicBezTo>
                <a:cubicBezTo>
                  <a:pt x="210" y="83"/>
                  <a:pt x="210" y="82"/>
                  <a:pt x="210" y="82"/>
                </a:cubicBezTo>
                <a:cubicBezTo>
                  <a:pt x="210" y="82"/>
                  <a:pt x="210" y="82"/>
                  <a:pt x="210" y="82"/>
                </a:cubicBezTo>
                <a:cubicBezTo>
                  <a:pt x="210" y="82"/>
                  <a:pt x="210" y="82"/>
                  <a:pt x="210" y="82"/>
                </a:cubicBezTo>
                <a:cubicBezTo>
                  <a:pt x="210" y="81"/>
                  <a:pt x="210" y="81"/>
                  <a:pt x="210" y="81"/>
                </a:cubicBezTo>
                <a:cubicBezTo>
                  <a:pt x="210" y="81"/>
                  <a:pt x="210" y="80"/>
                  <a:pt x="210" y="80"/>
                </a:cubicBezTo>
                <a:cubicBezTo>
                  <a:pt x="210" y="80"/>
                  <a:pt x="210" y="80"/>
                  <a:pt x="210" y="79"/>
                </a:cubicBezTo>
                <a:cubicBezTo>
                  <a:pt x="210" y="79"/>
                  <a:pt x="210" y="79"/>
                  <a:pt x="210" y="78"/>
                </a:cubicBezTo>
                <a:cubicBezTo>
                  <a:pt x="210" y="78"/>
                  <a:pt x="210" y="77"/>
                  <a:pt x="210" y="77"/>
                </a:cubicBezTo>
                <a:cubicBezTo>
                  <a:pt x="210" y="76"/>
                  <a:pt x="210" y="76"/>
                  <a:pt x="210" y="75"/>
                </a:cubicBezTo>
                <a:cubicBezTo>
                  <a:pt x="210" y="75"/>
                  <a:pt x="210" y="75"/>
                  <a:pt x="210" y="74"/>
                </a:cubicBezTo>
                <a:cubicBezTo>
                  <a:pt x="210" y="74"/>
                  <a:pt x="210" y="73"/>
                  <a:pt x="210" y="73"/>
                </a:cubicBezTo>
                <a:cubicBezTo>
                  <a:pt x="210" y="72"/>
                  <a:pt x="210" y="72"/>
                  <a:pt x="210" y="71"/>
                </a:cubicBezTo>
                <a:cubicBezTo>
                  <a:pt x="210" y="71"/>
                  <a:pt x="210" y="70"/>
                  <a:pt x="210" y="70"/>
                </a:cubicBezTo>
                <a:cubicBezTo>
                  <a:pt x="210" y="69"/>
                  <a:pt x="210" y="69"/>
                  <a:pt x="210" y="68"/>
                </a:cubicBezTo>
                <a:cubicBezTo>
                  <a:pt x="210" y="68"/>
                  <a:pt x="210" y="67"/>
                  <a:pt x="210" y="67"/>
                </a:cubicBezTo>
                <a:cubicBezTo>
                  <a:pt x="210" y="66"/>
                  <a:pt x="210" y="66"/>
                  <a:pt x="210" y="65"/>
                </a:cubicBezTo>
                <a:cubicBezTo>
                  <a:pt x="210" y="65"/>
                  <a:pt x="210" y="64"/>
                  <a:pt x="210" y="64"/>
                </a:cubicBezTo>
                <a:cubicBezTo>
                  <a:pt x="210" y="63"/>
                  <a:pt x="210" y="62"/>
                  <a:pt x="210" y="62"/>
                </a:cubicBezTo>
                <a:cubicBezTo>
                  <a:pt x="210" y="61"/>
                  <a:pt x="210" y="61"/>
                  <a:pt x="210" y="60"/>
                </a:cubicBezTo>
                <a:cubicBezTo>
                  <a:pt x="210" y="60"/>
                  <a:pt x="210" y="59"/>
                  <a:pt x="210" y="59"/>
                </a:cubicBezTo>
                <a:cubicBezTo>
                  <a:pt x="210" y="58"/>
                  <a:pt x="210" y="57"/>
                  <a:pt x="210" y="57"/>
                </a:cubicBezTo>
                <a:cubicBezTo>
                  <a:pt x="210" y="56"/>
                  <a:pt x="209" y="56"/>
                  <a:pt x="209" y="55"/>
                </a:cubicBezTo>
                <a:cubicBezTo>
                  <a:pt x="209" y="55"/>
                  <a:pt x="209" y="54"/>
                  <a:pt x="209" y="53"/>
                </a:cubicBezTo>
                <a:cubicBezTo>
                  <a:pt x="209" y="53"/>
                  <a:pt x="209" y="52"/>
                  <a:pt x="209" y="52"/>
                </a:cubicBezTo>
                <a:cubicBezTo>
                  <a:pt x="209" y="51"/>
                  <a:pt x="208" y="51"/>
                  <a:pt x="208" y="50"/>
                </a:cubicBezTo>
                <a:cubicBezTo>
                  <a:pt x="208" y="50"/>
                  <a:pt x="208" y="49"/>
                  <a:pt x="208" y="49"/>
                </a:cubicBezTo>
                <a:cubicBezTo>
                  <a:pt x="207" y="48"/>
                  <a:pt x="207" y="47"/>
                  <a:pt x="207" y="47"/>
                </a:cubicBezTo>
                <a:cubicBezTo>
                  <a:pt x="207" y="46"/>
                  <a:pt x="207" y="46"/>
                  <a:pt x="206" y="45"/>
                </a:cubicBezTo>
                <a:cubicBezTo>
                  <a:pt x="206" y="44"/>
                  <a:pt x="205" y="43"/>
                  <a:pt x="205" y="42"/>
                </a:cubicBezTo>
                <a:cubicBezTo>
                  <a:pt x="195" y="27"/>
                  <a:pt x="164" y="0"/>
                  <a:pt x="122" y="21"/>
                </a:cubicBezTo>
                <a:cubicBezTo>
                  <a:pt x="81" y="42"/>
                  <a:pt x="99" y="93"/>
                  <a:pt x="99" y="93"/>
                </a:cubicBezTo>
                <a:cubicBezTo>
                  <a:pt x="99" y="93"/>
                  <a:pt x="91" y="94"/>
                  <a:pt x="98" y="111"/>
                </a:cubicBezTo>
                <a:cubicBezTo>
                  <a:pt x="101" y="120"/>
                  <a:pt x="104" y="133"/>
                  <a:pt x="115" y="130"/>
                </a:cubicBezTo>
                <a:cubicBezTo>
                  <a:pt x="115" y="130"/>
                  <a:pt x="120" y="142"/>
                  <a:pt x="122" y="146"/>
                </a:cubicBezTo>
                <a:cubicBezTo>
                  <a:pt x="124" y="150"/>
                  <a:pt x="127" y="158"/>
                  <a:pt x="127" y="158"/>
                </a:cubicBezTo>
                <a:cubicBezTo>
                  <a:pt x="127" y="158"/>
                  <a:pt x="125" y="159"/>
                  <a:pt x="124" y="167"/>
                </a:cubicBezTo>
                <a:cubicBezTo>
                  <a:pt x="124" y="175"/>
                  <a:pt x="122" y="176"/>
                  <a:pt x="122" y="176"/>
                </a:cubicBezTo>
                <a:cubicBezTo>
                  <a:pt x="122" y="176"/>
                  <a:pt x="65" y="205"/>
                  <a:pt x="60" y="210"/>
                </a:cubicBezTo>
                <a:cubicBezTo>
                  <a:pt x="54" y="216"/>
                  <a:pt x="40" y="232"/>
                  <a:pt x="37" y="251"/>
                </a:cubicBezTo>
                <a:cubicBezTo>
                  <a:pt x="35" y="270"/>
                  <a:pt x="14" y="338"/>
                  <a:pt x="14" y="357"/>
                </a:cubicBezTo>
                <a:cubicBezTo>
                  <a:pt x="14" y="377"/>
                  <a:pt x="11" y="388"/>
                  <a:pt x="11" y="391"/>
                </a:cubicBezTo>
                <a:cubicBezTo>
                  <a:pt x="11" y="395"/>
                  <a:pt x="9" y="408"/>
                  <a:pt x="7" y="410"/>
                </a:cubicBezTo>
                <a:cubicBezTo>
                  <a:pt x="5" y="412"/>
                  <a:pt x="10" y="419"/>
                  <a:pt x="8" y="421"/>
                </a:cubicBezTo>
                <a:close/>
              </a:path>
            </a:pathLst>
          </a:custGeom>
          <a:solidFill>
            <a:srgbClr val="F5F5F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2"/>
          <p:cNvSpPr>
            <a:spLocks noEditPoints="1"/>
          </p:cNvSpPr>
          <p:nvPr userDrawn="1"/>
        </p:nvSpPr>
        <p:spPr bwMode="auto">
          <a:xfrm>
            <a:off x="0" y="4883285"/>
            <a:ext cx="1548714" cy="1980151"/>
          </a:xfrm>
          <a:custGeom>
            <a:avLst/>
            <a:gdLst/>
            <a:ahLst/>
            <a:cxnLst>
              <a:cxn ang="0">
                <a:pos x="478" y="314"/>
              </a:cxn>
              <a:cxn ang="0">
                <a:pos x="371" y="205"/>
              </a:cxn>
              <a:cxn ang="0">
                <a:pos x="362" y="190"/>
              </a:cxn>
              <a:cxn ang="0">
                <a:pos x="351" y="173"/>
              </a:cxn>
              <a:cxn ang="0">
                <a:pos x="335" y="162"/>
              </a:cxn>
              <a:cxn ang="0">
                <a:pos x="315" y="146"/>
              </a:cxn>
              <a:cxn ang="0">
                <a:pos x="303" y="131"/>
              </a:cxn>
              <a:cxn ang="0">
                <a:pos x="297" y="131"/>
              </a:cxn>
              <a:cxn ang="0">
                <a:pos x="297" y="126"/>
              </a:cxn>
              <a:cxn ang="0">
                <a:pos x="302" y="112"/>
              </a:cxn>
              <a:cxn ang="0">
                <a:pos x="302" y="112"/>
              </a:cxn>
              <a:cxn ang="0">
                <a:pos x="302" y="112"/>
              </a:cxn>
              <a:cxn ang="0">
                <a:pos x="303" y="108"/>
              </a:cxn>
              <a:cxn ang="0">
                <a:pos x="303" y="107"/>
              </a:cxn>
              <a:cxn ang="0">
                <a:pos x="305" y="102"/>
              </a:cxn>
              <a:cxn ang="0">
                <a:pos x="306" y="54"/>
              </a:cxn>
              <a:cxn ang="0">
                <a:pos x="247" y="5"/>
              </a:cxn>
              <a:cxn ang="0">
                <a:pos x="166" y="37"/>
              </a:cxn>
              <a:cxn ang="0">
                <a:pos x="160" y="97"/>
              </a:cxn>
              <a:cxn ang="0">
                <a:pos x="150" y="108"/>
              </a:cxn>
              <a:cxn ang="0">
                <a:pos x="165" y="147"/>
              </a:cxn>
              <a:cxn ang="0">
                <a:pos x="175" y="149"/>
              </a:cxn>
              <a:cxn ang="0">
                <a:pos x="176" y="185"/>
              </a:cxn>
              <a:cxn ang="0">
                <a:pos x="150" y="206"/>
              </a:cxn>
              <a:cxn ang="0">
                <a:pos x="55" y="230"/>
              </a:cxn>
              <a:cxn ang="0">
                <a:pos x="37" y="267"/>
              </a:cxn>
              <a:cxn ang="0">
                <a:pos x="0" y="416"/>
              </a:cxn>
              <a:cxn ang="0">
                <a:pos x="0" y="639"/>
              </a:cxn>
              <a:cxn ang="0">
                <a:pos x="30" y="639"/>
              </a:cxn>
              <a:cxn ang="0">
                <a:pos x="37" y="604"/>
              </a:cxn>
              <a:cxn ang="0">
                <a:pos x="67" y="490"/>
              </a:cxn>
              <a:cxn ang="0">
                <a:pos x="64" y="591"/>
              </a:cxn>
              <a:cxn ang="0">
                <a:pos x="57" y="639"/>
              </a:cxn>
              <a:cxn ang="0">
                <a:pos x="423" y="639"/>
              </a:cxn>
              <a:cxn ang="0">
                <a:pos x="421" y="620"/>
              </a:cxn>
              <a:cxn ang="0">
                <a:pos x="407" y="401"/>
              </a:cxn>
              <a:cxn ang="0">
                <a:pos x="463" y="410"/>
              </a:cxn>
              <a:cxn ang="0">
                <a:pos x="500" y="378"/>
              </a:cxn>
              <a:cxn ang="0">
                <a:pos x="478" y="314"/>
              </a:cxn>
              <a:cxn ang="0">
                <a:pos x="290" y="218"/>
              </a:cxn>
              <a:cxn ang="0">
                <a:pos x="277" y="206"/>
              </a:cxn>
              <a:cxn ang="0">
                <a:pos x="276" y="200"/>
              </a:cxn>
              <a:cxn ang="0">
                <a:pos x="290" y="213"/>
              </a:cxn>
              <a:cxn ang="0">
                <a:pos x="298" y="220"/>
              </a:cxn>
              <a:cxn ang="0">
                <a:pos x="290" y="218"/>
              </a:cxn>
              <a:cxn ang="0">
                <a:pos x="315" y="196"/>
              </a:cxn>
              <a:cxn ang="0">
                <a:pos x="307" y="202"/>
              </a:cxn>
              <a:cxn ang="0">
                <a:pos x="287" y="185"/>
              </a:cxn>
              <a:cxn ang="0">
                <a:pos x="294" y="183"/>
              </a:cxn>
              <a:cxn ang="0">
                <a:pos x="303" y="174"/>
              </a:cxn>
              <a:cxn ang="0">
                <a:pos x="310" y="173"/>
              </a:cxn>
              <a:cxn ang="0">
                <a:pos x="315" y="186"/>
              </a:cxn>
              <a:cxn ang="0">
                <a:pos x="315" y="196"/>
              </a:cxn>
            </a:cxnLst>
            <a:rect l="0" t="0" r="r" b="b"/>
            <a:pathLst>
              <a:path w="500" h="639">
                <a:moveTo>
                  <a:pt x="478" y="314"/>
                </a:moveTo>
                <a:cubicBezTo>
                  <a:pt x="457" y="283"/>
                  <a:pt x="371" y="205"/>
                  <a:pt x="371" y="205"/>
                </a:cubicBezTo>
                <a:cubicBezTo>
                  <a:pt x="371" y="205"/>
                  <a:pt x="367" y="194"/>
                  <a:pt x="362" y="190"/>
                </a:cubicBezTo>
                <a:cubicBezTo>
                  <a:pt x="357" y="185"/>
                  <a:pt x="356" y="182"/>
                  <a:pt x="351" y="173"/>
                </a:cubicBezTo>
                <a:cubicBezTo>
                  <a:pt x="345" y="163"/>
                  <a:pt x="337" y="164"/>
                  <a:pt x="335" y="162"/>
                </a:cubicBezTo>
                <a:cubicBezTo>
                  <a:pt x="333" y="159"/>
                  <a:pt x="317" y="148"/>
                  <a:pt x="315" y="146"/>
                </a:cubicBezTo>
                <a:cubicBezTo>
                  <a:pt x="312" y="144"/>
                  <a:pt x="306" y="136"/>
                  <a:pt x="303" y="131"/>
                </a:cubicBezTo>
                <a:cubicBezTo>
                  <a:pt x="300" y="127"/>
                  <a:pt x="297" y="131"/>
                  <a:pt x="297" y="131"/>
                </a:cubicBezTo>
                <a:cubicBezTo>
                  <a:pt x="297" y="131"/>
                  <a:pt x="296" y="133"/>
                  <a:pt x="297" y="126"/>
                </a:cubicBezTo>
                <a:cubicBezTo>
                  <a:pt x="297" y="122"/>
                  <a:pt x="299" y="117"/>
                  <a:pt x="302" y="112"/>
                </a:cubicBezTo>
                <a:cubicBezTo>
                  <a:pt x="302" y="112"/>
                  <a:pt x="302" y="112"/>
                  <a:pt x="302" y="112"/>
                </a:cubicBezTo>
                <a:cubicBezTo>
                  <a:pt x="302" y="112"/>
                  <a:pt x="302" y="112"/>
                  <a:pt x="302" y="112"/>
                </a:cubicBezTo>
                <a:cubicBezTo>
                  <a:pt x="302" y="110"/>
                  <a:pt x="303" y="109"/>
                  <a:pt x="303" y="108"/>
                </a:cubicBezTo>
                <a:cubicBezTo>
                  <a:pt x="303" y="108"/>
                  <a:pt x="303" y="107"/>
                  <a:pt x="303" y="107"/>
                </a:cubicBezTo>
                <a:cubicBezTo>
                  <a:pt x="304" y="106"/>
                  <a:pt x="305" y="104"/>
                  <a:pt x="305" y="102"/>
                </a:cubicBezTo>
                <a:cubicBezTo>
                  <a:pt x="308" y="93"/>
                  <a:pt x="310" y="75"/>
                  <a:pt x="306" y="54"/>
                </a:cubicBezTo>
                <a:cubicBezTo>
                  <a:pt x="302" y="32"/>
                  <a:pt x="276" y="9"/>
                  <a:pt x="247" y="5"/>
                </a:cubicBezTo>
                <a:cubicBezTo>
                  <a:pt x="218" y="0"/>
                  <a:pt x="180" y="18"/>
                  <a:pt x="166" y="37"/>
                </a:cubicBezTo>
                <a:cubicBezTo>
                  <a:pt x="152" y="55"/>
                  <a:pt x="160" y="97"/>
                  <a:pt x="160" y="97"/>
                </a:cubicBezTo>
                <a:cubicBezTo>
                  <a:pt x="160" y="97"/>
                  <a:pt x="149" y="95"/>
                  <a:pt x="150" y="108"/>
                </a:cubicBezTo>
                <a:cubicBezTo>
                  <a:pt x="151" y="121"/>
                  <a:pt x="161" y="145"/>
                  <a:pt x="165" y="147"/>
                </a:cubicBezTo>
                <a:cubicBezTo>
                  <a:pt x="169" y="149"/>
                  <a:pt x="174" y="146"/>
                  <a:pt x="175" y="149"/>
                </a:cubicBezTo>
                <a:cubicBezTo>
                  <a:pt x="176" y="152"/>
                  <a:pt x="176" y="185"/>
                  <a:pt x="176" y="185"/>
                </a:cubicBezTo>
                <a:cubicBezTo>
                  <a:pt x="176" y="185"/>
                  <a:pt x="159" y="205"/>
                  <a:pt x="150" y="206"/>
                </a:cubicBezTo>
                <a:cubicBezTo>
                  <a:pt x="141" y="207"/>
                  <a:pt x="67" y="226"/>
                  <a:pt x="55" y="230"/>
                </a:cubicBezTo>
                <a:cubicBezTo>
                  <a:pt x="43" y="233"/>
                  <a:pt x="49" y="239"/>
                  <a:pt x="37" y="267"/>
                </a:cubicBezTo>
                <a:cubicBezTo>
                  <a:pt x="31" y="280"/>
                  <a:pt x="15" y="347"/>
                  <a:pt x="0" y="416"/>
                </a:cubicBezTo>
                <a:cubicBezTo>
                  <a:pt x="0" y="639"/>
                  <a:pt x="0" y="639"/>
                  <a:pt x="0" y="639"/>
                </a:cubicBezTo>
                <a:cubicBezTo>
                  <a:pt x="30" y="639"/>
                  <a:pt x="30" y="639"/>
                  <a:pt x="30" y="639"/>
                </a:cubicBezTo>
                <a:cubicBezTo>
                  <a:pt x="32" y="628"/>
                  <a:pt x="34" y="616"/>
                  <a:pt x="37" y="604"/>
                </a:cubicBezTo>
                <a:cubicBezTo>
                  <a:pt x="42" y="576"/>
                  <a:pt x="67" y="490"/>
                  <a:pt x="67" y="490"/>
                </a:cubicBezTo>
                <a:cubicBezTo>
                  <a:pt x="67" y="490"/>
                  <a:pt x="65" y="579"/>
                  <a:pt x="64" y="591"/>
                </a:cubicBezTo>
                <a:cubicBezTo>
                  <a:pt x="64" y="597"/>
                  <a:pt x="60" y="617"/>
                  <a:pt x="57" y="639"/>
                </a:cubicBezTo>
                <a:cubicBezTo>
                  <a:pt x="423" y="639"/>
                  <a:pt x="423" y="639"/>
                  <a:pt x="423" y="639"/>
                </a:cubicBezTo>
                <a:cubicBezTo>
                  <a:pt x="422" y="633"/>
                  <a:pt x="422" y="627"/>
                  <a:pt x="421" y="620"/>
                </a:cubicBezTo>
                <a:cubicBezTo>
                  <a:pt x="418" y="573"/>
                  <a:pt x="407" y="401"/>
                  <a:pt x="407" y="401"/>
                </a:cubicBezTo>
                <a:cubicBezTo>
                  <a:pt x="407" y="401"/>
                  <a:pt x="447" y="413"/>
                  <a:pt x="463" y="410"/>
                </a:cubicBezTo>
                <a:cubicBezTo>
                  <a:pt x="479" y="408"/>
                  <a:pt x="500" y="390"/>
                  <a:pt x="500" y="378"/>
                </a:cubicBezTo>
                <a:cubicBezTo>
                  <a:pt x="500" y="365"/>
                  <a:pt x="499" y="345"/>
                  <a:pt x="478" y="314"/>
                </a:cubicBezTo>
                <a:close/>
                <a:moveTo>
                  <a:pt x="290" y="218"/>
                </a:moveTo>
                <a:cubicBezTo>
                  <a:pt x="286" y="216"/>
                  <a:pt x="278" y="207"/>
                  <a:pt x="277" y="206"/>
                </a:cubicBezTo>
                <a:cubicBezTo>
                  <a:pt x="275" y="204"/>
                  <a:pt x="276" y="200"/>
                  <a:pt x="276" y="200"/>
                </a:cubicBezTo>
                <a:cubicBezTo>
                  <a:pt x="276" y="200"/>
                  <a:pt x="288" y="210"/>
                  <a:pt x="290" y="213"/>
                </a:cubicBezTo>
                <a:cubicBezTo>
                  <a:pt x="292" y="215"/>
                  <a:pt x="298" y="220"/>
                  <a:pt x="298" y="220"/>
                </a:cubicBezTo>
                <a:cubicBezTo>
                  <a:pt x="298" y="220"/>
                  <a:pt x="294" y="220"/>
                  <a:pt x="290" y="218"/>
                </a:cubicBezTo>
                <a:close/>
                <a:moveTo>
                  <a:pt x="315" y="196"/>
                </a:moveTo>
                <a:cubicBezTo>
                  <a:pt x="314" y="198"/>
                  <a:pt x="310" y="203"/>
                  <a:pt x="307" y="202"/>
                </a:cubicBezTo>
                <a:cubicBezTo>
                  <a:pt x="305" y="200"/>
                  <a:pt x="301" y="194"/>
                  <a:pt x="287" y="185"/>
                </a:cubicBezTo>
                <a:cubicBezTo>
                  <a:pt x="287" y="185"/>
                  <a:pt x="290" y="187"/>
                  <a:pt x="294" y="183"/>
                </a:cubicBezTo>
                <a:cubicBezTo>
                  <a:pt x="298" y="180"/>
                  <a:pt x="299" y="175"/>
                  <a:pt x="303" y="174"/>
                </a:cubicBezTo>
                <a:cubicBezTo>
                  <a:pt x="306" y="174"/>
                  <a:pt x="310" y="173"/>
                  <a:pt x="310" y="173"/>
                </a:cubicBezTo>
                <a:cubicBezTo>
                  <a:pt x="310" y="173"/>
                  <a:pt x="314" y="179"/>
                  <a:pt x="315" y="186"/>
                </a:cubicBezTo>
                <a:cubicBezTo>
                  <a:pt x="315" y="193"/>
                  <a:pt x="316" y="194"/>
                  <a:pt x="315" y="196"/>
                </a:cubicBezTo>
                <a:close/>
              </a:path>
            </a:pathLst>
          </a:custGeom>
          <a:solidFill>
            <a:srgbClr val="F5F5F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 name="Freeform 13"/>
          <p:cNvSpPr>
            <a:spLocks noEditPoints="1"/>
          </p:cNvSpPr>
          <p:nvPr userDrawn="1"/>
        </p:nvSpPr>
        <p:spPr bwMode="auto">
          <a:xfrm>
            <a:off x="2218818" y="5451103"/>
            <a:ext cx="1359879" cy="1412333"/>
          </a:xfrm>
          <a:custGeom>
            <a:avLst/>
            <a:gdLst/>
            <a:ahLst/>
            <a:cxnLst>
              <a:cxn ang="0">
                <a:pos x="1" y="318"/>
              </a:cxn>
              <a:cxn ang="0">
                <a:pos x="6" y="351"/>
              </a:cxn>
              <a:cxn ang="0">
                <a:pos x="16" y="370"/>
              </a:cxn>
              <a:cxn ang="0">
                <a:pos x="42" y="406"/>
              </a:cxn>
              <a:cxn ang="0">
                <a:pos x="46" y="422"/>
              </a:cxn>
              <a:cxn ang="0">
                <a:pos x="53" y="436"/>
              </a:cxn>
              <a:cxn ang="0">
                <a:pos x="97" y="455"/>
              </a:cxn>
              <a:cxn ang="0">
                <a:pos x="310" y="454"/>
              </a:cxn>
              <a:cxn ang="0">
                <a:pos x="316" y="452"/>
              </a:cxn>
              <a:cxn ang="0">
                <a:pos x="320" y="449"/>
              </a:cxn>
              <a:cxn ang="0">
                <a:pos x="326" y="445"/>
              </a:cxn>
              <a:cxn ang="0">
                <a:pos x="330" y="442"/>
              </a:cxn>
              <a:cxn ang="0">
                <a:pos x="335" y="438"/>
              </a:cxn>
              <a:cxn ang="0">
                <a:pos x="336" y="438"/>
              </a:cxn>
              <a:cxn ang="0">
                <a:pos x="361" y="419"/>
              </a:cxn>
              <a:cxn ang="0">
                <a:pos x="381" y="409"/>
              </a:cxn>
              <a:cxn ang="0">
                <a:pos x="409" y="393"/>
              </a:cxn>
              <a:cxn ang="0">
                <a:pos x="439" y="317"/>
              </a:cxn>
              <a:cxn ang="0">
                <a:pos x="434" y="297"/>
              </a:cxn>
              <a:cxn ang="0">
                <a:pos x="400" y="248"/>
              </a:cxn>
              <a:cxn ang="0">
                <a:pos x="340" y="191"/>
              </a:cxn>
              <a:cxn ang="0">
                <a:pos x="271" y="163"/>
              </a:cxn>
              <a:cxn ang="0">
                <a:pos x="265" y="153"/>
              </a:cxn>
              <a:cxn ang="0">
                <a:pos x="265" y="139"/>
              </a:cxn>
              <a:cxn ang="0">
                <a:pos x="287" y="108"/>
              </a:cxn>
              <a:cxn ang="0">
                <a:pos x="235" y="3"/>
              </a:cxn>
              <a:cxn ang="0">
                <a:pos x="165" y="83"/>
              </a:cxn>
              <a:cxn ang="0">
                <a:pos x="184" y="136"/>
              </a:cxn>
              <a:cxn ang="0">
                <a:pos x="183" y="143"/>
              </a:cxn>
              <a:cxn ang="0">
                <a:pos x="135" y="164"/>
              </a:cxn>
              <a:cxn ang="0">
                <a:pos x="121" y="165"/>
              </a:cxn>
              <a:cxn ang="0">
                <a:pos x="79" y="180"/>
              </a:cxn>
              <a:cxn ang="0">
                <a:pos x="47" y="218"/>
              </a:cxn>
              <a:cxn ang="0">
                <a:pos x="28" y="237"/>
              </a:cxn>
              <a:cxn ang="0">
                <a:pos x="26" y="241"/>
              </a:cxn>
              <a:cxn ang="0">
                <a:pos x="12" y="254"/>
              </a:cxn>
              <a:cxn ang="0">
                <a:pos x="1" y="286"/>
              </a:cxn>
              <a:cxn ang="0">
                <a:pos x="2" y="296"/>
              </a:cxn>
              <a:cxn ang="0">
                <a:pos x="320" y="317"/>
              </a:cxn>
              <a:cxn ang="0">
                <a:pos x="322" y="304"/>
              </a:cxn>
              <a:cxn ang="0">
                <a:pos x="344" y="311"/>
              </a:cxn>
              <a:cxn ang="0">
                <a:pos x="362" y="329"/>
              </a:cxn>
              <a:cxn ang="0">
                <a:pos x="358" y="349"/>
              </a:cxn>
              <a:cxn ang="0">
                <a:pos x="338" y="367"/>
              </a:cxn>
              <a:cxn ang="0">
                <a:pos x="336" y="375"/>
              </a:cxn>
              <a:cxn ang="0">
                <a:pos x="308" y="394"/>
              </a:cxn>
              <a:cxn ang="0">
                <a:pos x="308" y="395"/>
              </a:cxn>
              <a:cxn ang="0">
                <a:pos x="308" y="396"/>
              </a:cxn>
              <a:cxn ang="0">
                <a:pos x="306" y="396"/>
              </a:cxn>
              <a:cxn ang="0">
                <a:pos x="69" y="302"/>
              </a:cxn>
              <a:cxn ang="0">
                <a:pos x="95" y="274"/>
              </a:cxn>
              <a:cxn ang="0">
                <a:pos x="94" y="368"/>
              </a:cxn>
              <a:cxn ang="0">
                <a:pos x="89" y="392"/>
              </a:cxn>
              <a:cxn ang="0">
                <a:pos x="80" y="378"/>
              </a:cxn>
              <a:cxn ang="0">
                <a:pos x="70" y="357"/>
              </a:cxn>
              <a:cxn ang="0">
                <a:pos x="71" y="324"/>
              </a:cxn>
            </a:cxnLst>
            <a:rect l="0" t="0" r="r" b="b"/>
            <a:pathLst>
              <a:path w="439" h="456">
                <a:moveTo>
                  <a:pt x="2" y="300"/>
                </a:moveTo>
                <a:cubicBezTo>
                  <a:pt x="1" y="304"/>
                  <a:pt x="1" y="308"/>
                  <a:pt x="1" y="314"/>
                </a:cubicBezTo>
                <a:cubicBezTo>
                  <a:pt x="1" y="315"/>
                  <a:pt x="1" y="316"/>
                  <a:pt x="1" y="318"/>
                </a:cubicBezTo>
                <a:cubicBezTo>
                  <a:pt x="1" y="322"/>
                  <a:pt x="1" y="326"/>
                  <a:pt x="2" y="335"/>
                </a:cubicBezTo>
                <a:cubicBezTo>
                  <a:pt x="4" y="345"/>
                  <a:pt x="6" y="351"/>
                  <a:pt x="6" y="351"/>
                </a:cubicBezTo>
                <a:cubicBezTo>
                  <a:pt x="6" y="351"/>
                  <a:pt x="6" y="351"/>
                  <a:pt x="6" y="351"/>
                </a:cubicBezTo>
                <a:cubicBezTo>
                  <a:pt x="6" y="351"/>
                  <a:pt x="6" y="351"/>
                  <a:pt x="6" y="351"/>
                </a:cubicBezTo>
                <a:cubicBezTo>
                  <a:pt x="6" y="351"/>
                  <a:pt x="11" y="356"/>
                  <a:pt x="13" y="362"/>
                </a:cubicBezTo>
                <a:cubicBezTo>
                  <a:pt x="14" y="365"/>
                  <a:pt x="15" y="368"/>
                  <a:pt x="16" y="370"/>
                </a:cubicBezTo>
                <a:cubicBezTo>
                  <a:pt x="17" y="373"/>
                  <a:pt x="19" y="376"/>
                  <a:pt x="21" y="379"/>
                </a:cubicBezTo>
                <a:cubicBezTo>
                  <a:pt x="23" y="380"/>
                  <a:pt x="25" y="383"/>
                  <a:pt x="27" y="386"/>
                </a:cubicBezTo>
                <a:cubicBezTo>
                  <a:pt x="33" y="394"/>
                  <a:pt x="41" y="404"/>
                  <a:pt x="42" y="406"/>
                </a:cubicBezTo>
                <a:cubicBezTo>
                  <a:pt x="42" y="406"/>
                  <a:pt x="42" y="406"/>
                  <a:pt x="42" y="406"/>
                </a:cubicBezTo>
                <a:cubicBezTo>
                  <a:pt x="42" y="410"/>
                  <a:pt x="45" y="420"/>
                  <a:pt x="45" y="420"/>
                </a:cubicBezTo>
                <a:cubicBezTo>
                  <a:pt x="46" y="422"/>
                  <a:pt x="46" y="422"/>
                  <a:pt x="46" y="422"/>
                </a:cubicBezTo>
                <a:cubicBezTo>
                  <a:pt x="46" y="421"/>
                  <a:pt x="46" y="421"/>
                  <a:pt x="46" y="420"/>
                </a:cubicBezTo>
                <a:cubicBezTo>
                  <a:pt x="46" y="420"/>
                  <a:pt x="46" y="420"/>
                  <a:pt x="46" y="420"/>
                </a:cubicBezTo>
                <a:cubicBezTo>
                  <a:pt x="46" y="420"/>
                  <a:pt x="47" y="429"/>
                  <a:pt x="53" y="436"/>
                </a:cubicBezTo>
                <a:cubicBezTo>
                  <a:pt x="59" y="443"/>
                  <a:pt x="62" y="450"/>
                  <a:pt x="68" y="456"/>
                </a:cubicBezTo>
                <a:cubicBezTo>
                  <a:pt x="94" y="456"/>
                  <a:pt x="94" y="456"/>
                  <a:pt x="94" y="456"/>
                </a:cubicBezTo>
                <a:cubicBezTo>
                  <a:pt x="95" y="455"/>
                  <a:pt x="97" y="455"/>
                  <a:pt x="97" y="455"/>
                </a:cubicBezTo>
                <a:cubicBezTo>
                  <a:pt x="97" y="456"/>
                  <a:pt x="97" y="456"/>
                  <a:pt x="97" y="456"/>
                </a:cubicBezTo>
                <a:cubicBezTo>
                  <a:pt x="303" y="456"/>
                  <a:pt x="303" y="456"/>
                  <a:pt x="303" y="456"/>
                </a:cubicBezTo>
                <a:cubicBezTo>
                  <a:pt x="305" y="455"/>
                  <a:pt x="308" y="455"/>
                  <a:pt x="310" y="454"/>
                </a:cubicBezTo>
                <a:cubicBezTo>
                  <a:pt x="311" y="454"/>
                  <a:pt x="312" y="454"/>
                  <a:pt x="312" y="453"/>
                </a:cubicBezTo>
                <a:cubicBezTo>
                  <a:pt x="313" y="453"/>
                  <a:pt x="313" y="453"/>
                  <a:pt x="313" y="453"/>
                </a:cubicBezTo>
                <a:cubicBezTo>
                  <a:pt x="314" y="453"/>
                  <a:pt x="315" y="452"/>
                  <a:pt x="316" y="452"/>
                </a:cubicBezTo>
                <a:cubicBezTo>
                  <a:pt x="316" y="451"/>
                  <a:pt x="316" y="451"/>
                  <a:pt x="316" y="451"/>
                </a:cubicBezTo>
                <a:cubicBezTo>
                  <a:pt x="317" y="451"/>
                  <a:pt x="318" y="450"/>
                  <a:pt x="319" y="450"/>
                </a:cubicBezTo>
                <a:cubicBezTo>
                  <a:pt x="319" y="450"/>
                  <a:pt x="320" y="449"/>
                  <a:pt x="320" y="449"/>
                </a:cubicBezTo>
                <a:cubicBezTo>
                  <a:pt x="321" y="449"/>
                  <a:pt x="322" y="448"/>
                  <a:pt x="323" y="447"/>
                </a:cubicBezTo>
                <a:cubicBezTo>
                  <a:pt x="323" y="447"/>
                  <a:pt x="323" y="447"/>
                  <a:pt x="323" y="447"/>
                </a:cubicBezTo>
                <a:cubicBezTo>
                  <a:pt x="324" y="446"/>
                  <a:pt x="325" y="446"/>
                  <a:pt x="326" y="445"/>
                </a:cubicBezTo>
                <a:cubicBezTo>
                  <a:pt x="326" y="445"/>
                  <a:pt x="327" y="445"/>
                  <a:pt x="327" y="445"/>
                </a:cubicBezTo>
                <a:cubicBezTo>
                  <a:pt x="328" y="444"/>
                  <a:pt x="329" y="443"/>
                  <a:pt x="330" y="443"/>
                </a:cubicBezTo>
                <a:cubicBezTo>
                  <a:pt x="330" y="442"/>
                  <a:pt x="330" y="442"/>
                  <a:pt x="330" y="442"/>
                </a:cubicBezTo>
                <a:cubicBezTo>
                  <a:pt x="331" y="441"/>
                  <a:pt x="332" y="441"/>
                  <a:pt x="333" y="440"/>
                </a:cubicBezTo>
                <a:cubicBezTo>
                  <a:pt x="333" y="440"/>
                  <a:pt x="333" y="440"/>
                  <a:pt x="333" y="440"/>
                </a:cubicBezTo>
                <a:cubicBezTo>
                  <a:pt x="334" y="439"/>
                  <a:pt x="335" y="439"/>
                  <a:pt x="335" y="438"/>
                </a:cubicBezTo>
                <a:cubicBezTo>
                  <a:pt x="335" y="438"/>
                  <a:pt x="335" y="438"/>
                  <a:pt x="335" y="438"/>
                </a:cubicBezTo>
                <a:cubicBezTo>
                  <a:pt x="335" y="438"/>
                  <a:pt x="336" y="438"/>
                  <a:pt x="336" y="438"/>
                </a:cubicBezTo>
                <a:cubicBezTo>
                  <a:pt x="336" y="438"/>
                  <a:pt x="336" y="438"/>
                  <a:pt x="336" y="438"/>
                </a:cubicBezTo>
                <a:cubicBezTo>
                  <a:pt x="336" y="438"/>
                  <a:pt x="336" y="438"/>
                  <a:pt x="336" y="439"/>
                </a:cubicBezTo>
                <a:cubicBezTo>
                  <a:pt x="337" y="437"/>
                  <a:pt x="338" y="437"/>
                  <a:pt x="338" y="437"/>
                </a:cubicBezTo>
                <a:cubicBezTo>
                  <a:pt x="361" y="419"/>
                  <a:pt x="361" y="419"/>
                  <a:pt x="361" y="419"/>
                </a:cubicBezTo>
                <a:cubicBezTo>
                  <a:pt x="361" y="419"/>
                  <a:pt x="361" y="419"/>
                  <a:pt x="361" y="419"/>
                </a:cubicBezTo>
                <a:cubicBezTo>
                  <a:pt x="361" y="419"/>
                  <a:pt x="371" y="413"/>
                  <a:pt x="375" y="411"/>
                </a:cubicBezTo>
                <a:cubicBezTo>
                  <a:pt x="377" y="411"/>
                  <a:pt x="379" y="410"/>
                  <a:pt x="381" y="409"/>
                </a:cubicBezTo>
                <a:cubicBezTo>
                  <a:pt x="385" y="407"/>
                  <a:pt x="392" y="404"/>
                  <a:pt x="398" y="403"/>
                </a:cubicBezTo>
                <a:cubicBezTo>
                  <a:pt x="398" y="403"/>
                  <a:pt x="398" y="403"/>
                  <a:pt x="398" y="403"/>
                </a:cubicBezTo>
                <a:cubicBezTo>
                  <a:pt x="405" y="401"/>
                  <a:pt x="405" y="400"/>
                  <a:pt x="409" y="393"/>
                </a:cubicBezTo>
                <a:cubicBezTo>
                  <a:pt x="410" y="390"/>
                  <a:pt x="412" y="386"/>
                  <a:pt x="416" y="380"/>
                </a:cubicBezTo>
                <a:cubicBezTo>
                  <a:pt x="424" y="367"/>
                  <a:pt x="435" y="344"/>
                  <a:pt x="438" y="326"/>
                </a:cubicBezTo>
                <a:cubicBezTo>
                  <a:pt x="439" y="323"/>
                  <a:pt x="439" y="320"/>
                  <a:pt x="439" y="317"/>
                </a:cubicBezTo>
                <a:cubicBezTo>
                  <a:pt x="439" y="314"/>
                  <a:pt x="439" y="311"/>
                  <a:pt x="438" y="309"/>
                </a:cubicBezTo>
                <a:cubicBezTo>
                  <a:pt x="438" y="309"/>
                  <a:pt x="438" y="309"/>
                  <a:pt x="438" y="309"/>
                </a:cubicBezTo>
                <a:cubicBezTo>
                  <a:pt x="435" y="303"/>
                  <a:pt x="435" y="300"/>
                  <a:pt x="434" y="297"/>
                </a:cubicBezTo>
                <a:cubicBezTo>
                  <a:pt x="434" y="291"/>
                  <a:pt x="433" y="287"/>
                  <a:pt x="425" y="279"/>
                </a:cubicBezTo>
                <a:cubicBezTo>
                  <a:pt x="414" y="267"/>
                  <a:pt x="408" y="259"/>
                  <a:pt x="402" y="250"/>
                </a:cubicBezTo>
                <a:cubicBezTo>
                  <a:pt x="401" y="250"/>
                  <a:pt x="401" y="249"/>
                  <a:pt x="400" y="248"/>
                </a:cubicBezTo>
                <a:cubicBezTo>
                  <a:pt x="394" y="241"/>
                  <a:pt x="375" y="219"/>
                  <a:pt x="358" y="204"/>
                </a:cubicBezTo>
                <a:cubicBezTo>
                  <a:pt x="355" y="201"/>
                  <a:pt x="351" y="199"/>
                  <a:pt x="349" y="197"/>
                </a:cubicBezTo>
                <a:cubicBezTo>
                  <a:pt x="346" y="194"/>
                  <a:pt x="343" y="193"/>
                  <a:pt x="340" y="191"/>
                </a:cubicBezTo>
                <a:cubicBezTo>
                  <a:pt x="332" y="187"/>
                  <a:pt x="317" y="182"/>
                  <a:pt x="304" y="177"/>
                </a:cubicBezTo>
                <a:cubicBezTo>
                  <a:pt x="292" y="173"/>
                  <a:pt x="281" y="169"/>
                  <a:pt x="279" y="167"/>
                </a:cubicBezTo>
                <a:cubicBezTo>
                  <a:pt x="276" y="165"/>
                  <a:pt x="274" y="164"/>
                  <a:pt x="271" y="163"/>
                </a:cubicBezTo>
                <a:cubicBezTo>
                  <a:pt x="269" y="162"/>
                  <a:pt x="268" y="162"/>
                  <a:pt x="268" y="161"/>
                </a:cubicBezTo>
                <a:cubicBezTo>
                  <a:pt x="268" y="160"/>
                  <a:pt x="267" y="158"/>
                  <a:pt x="267" y="157"/>
                </a:cubicBezTo>
                <a:cubicBezTo>
                  <a:pt x="266" y="156"/>
                  <a:pt x="266" y="155"/>
                  <a:pt x="265" y="153"/>
                </a:cubicBezTo>
                <a:cubicBezTo>
                  <a:pt x="265" y="151"/>
                  <a:pt x="263" y="150"/>
                  <a:pt x="263" y="150"/>
                </a:cubicBezTo>
                <a:cubicBezTo>
                  <a:pt x="263" y="150"/>
                  <a:pt x="263" y="150"/>
                  <a:pt x="263" y="150"/>
                </a:cubicBezTo>
                <a:cubicBezTo>
                  <a:pt x="263" y="149"/>
                  <a:pt x="263" y="144"/>
                  <a:pt x="265" y="139"/>
                </a:cubicBezTo>
                <a:cubicBezTo>
                  <a:pt x="267" y="134"/>
                  <a:pt x="269" y="125"/>
                  <a:pt x="269" y="125"/>
                </a:cubicBezTo>
                <a:cubicBezTo>
                  <a:pt x="269" y="125"/>
                  <a:pt x="269" y="127"/>
                  <a:pt x="273" y="127"/>
                </a:cubicBezTo>
                <a:cubicBezTo>
                  <a:pt x="278" y="127"/>
                  <a:pt x="282" y="123"/>
                  <a:pt x="287" y="108"/>
                </a:cubicBezTo>
                <a:cubicBezTo>
                  <a:pt x="291" y="93"/>
                  <a:pt x="286" y="91"/>
                  <a:pt x="286" y="91"/>
                </a:cubicBezTo>
                <a:cubicBezTo>
                  <a:pt x="286" y="91"/>
                  <a:pt x="293" y="62"/>
                  <a:pt x="291" y="48"/>
                </a:cubicBezTo>
                <a:cubicBezTo>
                  <a:pt x="290" y="33"/>
                  <a:pt x="267" y="5"/>
                  <a:pt x="235" y="3"/>
                </a:cubicBezTo>
                <a:cubicBezTo>
                  <a:pt x="203" y="0"/>
                  <a:pt x="178" y="24"/>
                  <a:pt x="172" y="38"/>
                </a:cubicBezTo>
                <a:cubicBezTo>
                  <a:pt x="167" y="52"/>
                  <a:pt x="172" y="80"/>
                  <a:pt x="172" y="80"/>
                </a:cubicBezTo>
                <a:cubicBezTo>
                  <a:pt x="172" y="80"/>
                  <a:pt x="167" y="76"/>
                  <a:pt x="165" y="83"/>
                </a:cubicBezTo>
                <a:cubicBezTo>
                  <a:pt x="164" y="91"/>
                  <a:pt x="165" y="104"/>
                  <a:pt x="169" y="114"/>
                </a:cubicBezTo>
                <a:cubicBezTo>
                  <a:pt x="173" y="123"/>
                  <a:pt x="180" y="119"/>
                  <a:pt x="180" y="120"/>
                </a:cubicBezTo>
                <a:cubicBezTo>
                  <a:pt x="180" y="122"/>
                  <a:pt x="184" y="132"/>
                  <a:pt x="184" y="136"/>
                </a:cubicBezTo>
                <a:cubicBezTo>
                  <a:pt x="184" y="139"/>
                  <a:pt x="184" y="141"/>
                  <a:pt x="184" y="142"/>
                </a:cubicBezTo>
                <a:cubicBezTo>
                  <a:pt x="184" y="142"/>
                  <a:pt x="183" y="143"/>
                  <a:pt x="183" y="143"/>
                </a:cubicBezTo>
                <a:cubicBezTo>
                  <a:pt x="183" y="143"/>
                  <a:pt x="183" y="143"/>
                  <a:pt x="183" y="143"/>
                </a:cubicBezTo>
                <a:cubicBezTo>
                  <a:pt x="183" y="143"/>
                  <a:pt x="183" y="143"/>
                  <a:pt x="183" y="143"/>
                </a:cubicBezTo>
                <a:cubicBezTo>
                  <a:pt x="183" y="143"/>
                  <a:pt x="180" y="150"/>
                  <a:pt x="168" y="155"/>
                </a:cubicBezTo>
                <a:cubicBezTo>
                  <a:pt x="159" y="159"/>
                  <a:pt x="147" y="162"/>
                  <a:pt x="135" y="164"/>
                </a:cubicBezTo>
                <a:cubicBezTo>
                  <a:pt x="133" y="164"/>
                  <a:pt x="130" y="164"/>
                  <a:pt x="128" y="165"/>
                </a:cubicBezTo>
                <a:cubicBezTo>
                  <a:pt x="126" y="165"/>
                  <a:pt x="124" y="165"/>
                  <a:pt x="121" y="165"/>
                </a:cubicBezTo>
                <a:cubicBezTo>
                  <a:pt x="121" y="165"/>
                  <a:pt x="121" y="165"/>
                  <a:pt x="121" y="165"/>
                </a:cubicBezTo>
                <a:cubicBezTo>
                  <a:pt x="110" y="166"/>
                  <a:pt x="98" y="169"/>
                  <a:pt x="88" y="174"/>
                </a:cubicBezTo>
                <a:cubicBezTo>
                  <a:pt x="87" y="175"/>
                  <a:pt x="85" y="176"/>
                  <a:pt x="83" y="177"/>
                </a:cubicBezTo>
                <a:cubicBezTo>
                  <a:pt x="82" y="178"/>
                  <a:pt x="80" y="179"/>
                  <a:pt x="79" y="180"/>
                </a:cubicBezTo>
                <a:cubicBezTo>
                  <a:pt x="79" y="180"/>
                  <a:pt x="79" y="180"/>
                  <a:pt x="79" y="180"/>
                </a:cubicBezTo>
                <a:cubicBezTo>
                  <a:pt x="75" y="184"/>
                  <a:pt x="69" y="191"/>
                  <a:pt x="63" y="199"/>
                </a:cubicBezTo>
                <a:cubicBezTo>
                  <a:pt x="57" y="207"/>
                  <a:pt x="51" y="215"/>
                  <a:pt x="47" y="218"/>
                </a:cubicBezTo>
                <a:cubicBezTo>
                  <a:pt x="47" y="218"/>
                  <a:pt x="47" y="218"/>
                  <a:pt x="47" y="218"/>
                </a:cubicBezTo>
                <a:cubicBezTo>
                  <a:pt x="42" y="222"/>
                  <a:pt x="36" y="228"/>
                  <a:pt x="31" y="234"/>
                </a:cubicBezTo>
                <a:cubicBezTo>
                  <a:pt x="30" y="235"/>
                  <a:pt x="29" y="236"/>
                  <a:pt x="28" y="237"/>
                </a:cubicBezTo>
                <a:cubicBezTo>
                  <a:pt x="27" y="239"/>
                  <a:pt x="27" y="240"/>
                  <a:pt x="26" y="241"/>
                </a:cubicBezTo>
                <a:cubicBezTo>
                  <a:pt x="26" y="241"/>
                  <a:pt x="26" y="241"/>
                  <a:pt x="26" y="241"/>
                </a:cubicBezTo>
                <a:cubicBezTo>
                  <a:pt x="26" y="241"/>
                  <a:pt x="26" y="241"/>
                  <a:pt x="26" y="241"/>
                </a:cubicBezTo>
                <a:cubicBezTo>
                  <a:pt x="23" y="245"/>
                  <a:pt x="19" y="247"/>
                  <a:pt x="17" y="248"/>
                </a:cubicBezTo>
                <a:cubicBezTo>
                  <a:pt x="14" y="249"/>
                  <a:pt x="12" y="250"/>
                  <a:pt x="12" y="252"/>
                </a:cubicBezTo>
                <a:cubicBezTo>
                  <a:pt x="12" y="253"/>
                  <a:pt x="12" y="253"/>
                  <a:pt x="12" y="254"/>
                </a:cubicBezTo>
                <a:cubicBezTo>
                  <a:pt x="12" y="257"/>
                  <a:pt x="12" y="259"/>
                  <a:pt x="10" y="262"/>
                </a:cubicBezTo>
                <a:cubicBezTo>
                  <a:pt x="8" y="264"/>
                  <a:pt x="4" y="274"/>
                  <a:pt x="2" y="282"/>
                </a:cubicBezTo>
                <a:cubicBezTo>
                  <a:pt x="2" y="283"/>
                  <a:pt x="1" y="285"/>
                  <a:pt x="1" y="286"/>
                </a:cubicBezTo>
                <a:cubicBezTo>
                  <a:pt x="1" y="288"/>
                  <a:pt x="1" y="289"/>
                  <a:pt x="1" y="290"/>
                </a:cubicBezTo>
                <a:cubicBezTo>
                  <a:pt x="1" y="290"/>
                  <a:pt x="1" y="290"/>
                  <a:pt x="1" y="290"/>
                </a:cubicBezTo>
                <a:cubicBezTo>
                  <a:pt x="0" y="293"/>
                  <a:pt x="1" y="295"/>
                  <a:pt x="2" y="296"/>
                </a:cubicBezTo>
                <a:cubicBezTo>
                  <a:pt x="2" y="297"/>
                  <a:pt x="3" y="298"/>
                  <a:pt x="2" y="300"/>
                </a:cubicBezTo>
                <a:close/>
                <a:moveTo>
                  <a:pt x="306" y="364"/>
                </a:moveTo>
                <a:cubicBezTo>
                  <a:pt x="311" y="353"/>
                  <a:pt x="316" y="332"/>
                  <a:pt x="320" y="317"/>
                </a:cubicBezTo>
                <a:cubicBezTo>
                  <a:pt x="320" y="314"/>
                  <a:pt x="321" y="312"/>
                  <a:pt x="321" y="309"/>
                </a:cubicBezTo>
                <a:cubicBezTo>
                  <a:pt x="322" y="307"/>
                  <a:pt x="322" y="305"/>
                  <a:pt x="322" y="304"/>
                </a:cubicBezTo>
                <a:cubicBezTo>
                  <a:pt x="322" y="304"/>
                  <a:pt x="322" y="304"/>
                  <a:pt x="322" y="304"/>
                </a:cubicBezTo>
                <a:cubicBezTo>
                  <a:pt x="324" y="295"/>
                  <a:pt x="327" y="292"/>
                  <a:pt x="328" y="291"/>
                </a:cubicBezTo>
                <a:cubicBezTo>
                  <a:pt x="329" y="292"/>
                  <a:pt x="337" y="294"/>
                  <a:pt x="341" y="302"/>
                </a:cubicBezTo>
                <a:cubicBezTo>
                  <a:pt x="343" y="306"/>
                  <a:pt x="343" y="309"/>
                  <a:pt x="344" y="311"/>
                </a:cubicBezTo>
                <a:cubicBezTo>
                  <a:pt x="345" y="313"/>
                  <a:pt x="346" y="316"/>
                  <a:pt x="348" y="320"/>
                </a:cubicBezTo>
                <a:cubicBezTo>
                  <a:pt x="350" y="325"/>
                  <a:pt x="356" y="327"/>
                  <a:pt x="360" y="328"/>
                </a:cubicBezTo>
                <a:cubicBezTo>
                  <a:pt x="361" y="329"/>
                  <a:pt x="362" y="329"/>
                  <a:pt x="362" y="329"/>
                </a:cubicBezTo>
                <a:cubicBezTo>
                  <a:pt x="362" y="329"/>
                  <a:pt x="362" y="329"/>
                  <a:pt x="362" y="329"/>
                </a:cubicBezTo>
                <a:cubicBezTo>
                  <a:pt x="358" y="331"/>
                  <a:pt x="362" y="336"/>
                  <a:pt x="364" y="338"/>
                </a:cubicBezTo>
                <a:cubicBezTo>
                  <a:pt x="363" y="338"/>
                  <a:pt x="360" y="340"/>
                  <a:pt x="358" y="349"/>
                </a:cubicBezTo>
                <a:cubicBezTo>
                  <a:pt x="356" y="358"/>
                  <a:pt x="355" y="358"/>
                  <a:pt x="352" y="358"/>
                </a:cubicBezTo>
                <a:cubicBezTo>
                  <a:pt x="351" y="358"/>
                  <a:pt x="349" y="358"/>
                  <a:pt x="347" y="358"/>
                </a:cubicBezTo>
                <a:cubicBezTo>
                  <a:pt x="342" y="360"/>
                  <a:pt x="339" y="363"/>
                  <a:pt x="338" y="367"/>
                </a:cubicBezTo>
                <a:cubicBezTo>
                  <a:pt x="337" y="368"/>
                  <a:pt x="337" y="368"/>
                  <a:pt x="337" y="369"/>
                </a:cubicBezTo>
                <a:cubicBezTo>
                  <a:pt x="336" y="372"/>
                  <a:pt x="336" y="374"/>
                  <a:pt x="336" y="375"/>
                </a:cubicBezTo>
                <a:cubicBezTo>
                  <a:pt x="336" y="375"/>
                  <a:pt x="336" y="375"/>
                  <a:pt x="336" y="375"/>
                </a:cubicBezTo>
                <a:cubicBezTo>
                  <a:pt x="336" y="376"/>
                  <a:pt x="335" y="376"/>
                  <a:pt x="329" y="380"/>
                </a:cubicBezTo>
                <a:cubicBezTo>
                  <a:pt x="327" y="381"/>
                  <a:pt x="324" y="383"/>
                  <a:pt x="320" y="385"/>
                </a:cubicBezTo>
                <a:cubicBezTo>
                  <a:pt x="311" y="390"/>
                  <a:pt x="309" y="393"/>
                  <a:pt x="308" y="394"/>
                </a:cubicBezTo>
                <a:cubicBezTo>
                  <a:pt x="308" y="395"/>
                  <a:pt x="308" y="395"/>
                  <a:pt x="308" y="395"/>
                </a:cubicBezTo>
                <a:cubicBezTo>
                  <a:pt x="308" y="395"/>
                  <a:pt x="308" y="395"/>
                  <a:pt x="308" y="395"/>
                </a:cubicBezTo>
                <a:cubicBezTo>
                  <a:pt x="308" y="395"/>
                  <a:pt x="308" y="395"/>
                  <a:pt x="308" y="395"/>
                </a:cubicBezTo>
                <a:cubicBezTo>
                  <a:pt x="308" y="395"/>
                  <a:pt x="308" y="395"/>
                  <a:pt x="308" y="395"/>
                </a:cubicBezTo>
                <a:cubicBezTo>
                  <a:pt x="308" y="395"/>
                  <a:pt x="308" y="395"/>
                  <a:pt x="308" y="395"/>
                </a:cubicBezTo>
                <a:cubicBezTo>
                  <a:pt x="308" y="396"/>
                  <a:pt x="308" y="396"/>
                  <a:pt x="308" y="396"/>
                </a:cubicBezTo>
                <a:cubicBezTo>
                  <a:pt x="308" y="396"/>
                  <a:pt x="308" y="396"/>
                  <a:pt x="307" y="396"/>
                </a:cubicBezTo>
                <a:cubicBezTo>
                  <a:pt x="307" y="396"/>
                  <a:pt x="307" y="396"/>
                  <a:pt x="307" y="396"/>
                </a:cubicBezTo>
                <a:cubicBezTo>
                  <a:pt x="307" y="396"/>
                  <a:pt x="307" y="396"/>
                  <a:pt x="306" y="396"/>
                </a:cubicBezTo>
                <a:cubicBezTo>
                  <a:pt x="302" y="396"/>
                  <a:pt x="295" y="398"/>
                  <a:pt x="293" y="399"/>
                </a:cubicBezTo>
                <a:cubicBezTo>
                  <a:pt x="293" y="397"/>
                  <a:pt x="300" y="379"/>
                  <a:pt x="306" y="364"/>
                </a:cubicBezTo>
                <a:close/>
                <a:moveTo>
                  <a:pt x="69" y="302"/>
                </a:moveTo>
                <a:cubicBezTo>
                  <a:pt x="73" y="300"/>
                  <a:pt x="75" y="296"/>
                  <a:pt x="76" y="293"/>
                </a:cubicBezTo>
                <a:cubicBezTo>
                  <a:pt x="77" y="290"/>
                  <a:pt x="78" y="286"/>
                  <a:pt x="78" y="284"/>
                </a:cubicBezTo>
                <a:cubicBezTo>
                  <a:pt x="78" y="280"/>
                  <a:pt x="93" y="274"/>
                  <a:pt x="95" y="274"/>
                </a:cubicBezTo>
                <a:cubicBezTo>
                  <a:pt x="96" y="274"/>
                  <a:pt x="100" y="278"/>
                  <a:pt x="99" y="300"/>
                </a:cubicBezTo>
                <a:cubicBezTo>
                  <a:pt x="99" y="311"/>
                  <a:pt x="98" y="322"/>
                  <a:pt x="97" y="332"/>
                </a:cubicBezTo>
                <a:cubicBezTo>
                  <a:pt x="96" y="344"/>
                  <a:pt x="94" y="356"/>
                  <a:pt x="94" y="368"/>
                </a:cubicBezTo>
                <a:cubicBezTo>
                  <a:pt x="94" y="385"/>
                  <a:pt x="96" y="393"/>
                  <a:pt x="97" y="396"/>
                </a:cubicBezTo>
                <a:cubicBezTo>
                  <a:pt x="96" y="395"/>
                  <a:pt x="94" y="393"/>
                  <a:pt x="93" y="393"/>
                </a:cubicBezTo>
                <a:cubicBezTo>
                  <a:pt x="90" y="391"/>
                  <a:pt x="89" y="392"/>
                  <a:pt x="89" y="392"/>
                </a:cubicBezTo>
                <a:cubicBezTo>
                  <a:pt x="89" y="392"/>
                  <a:pt x="89" y="392"/>
                  <a:pt x="89" y="392"/>
                </a:cubicBezTo>
                <a:cubicBezTo>
                  <a:pt x="89" y="392"/>
                  <a:pt x="89" y="392"/>
                  <a:pt x="89" y="392"/>
                </a:cubicBezTo>
                <a:cubicBezTo>
                  <a:pt x="89" y="390"/>
                  <a:pt x="86" y="384"/>
                  <a:pt x="80" y="378"/>
                </a:cubicBezTo>
                <a:cubicBezTo>
                  <a:pt x="74" y="372"/>
                  <a:pt x="72" y="368"/>
                  <a:pt x="71" y="367"/>
                </a:cubicBezTo>
                <a:cubicBezTo>
                  <a:pt x="71" y="366"/>
                  <a:pt x="73" y="363"/>
                  <a:pt x="70" y="360"/>
                </a:cubicBezTo>
                <a:cubicBezTo>
                  <a:pt x="69" y="358"/>
                  <a:pt x="69" y="358"/>
                  <a:pt x="70" y="357"/>
                </a:cubicBezTo>
                <a:cubicBezTo>
                  <a:pt x="70" y="356"/>
                  <a:pt x="71" y="355"/>
                  <a:pt x="69" y="353"/>
                </a:cubicBezTo>
                <a:cubicBezTo>
                  <a:pt x="68" y="352"/>
                  <a:pt x="69" y="349"/>
                  <a:pt x="70" y="345"/>
                </a:cubicBezTo>
                <a:cubicBezTo>
                  <a:pt x="72" y="340"/>
                  <a:pt x="74" y="333"/>
                  <a:pt x="71" y="324"/>
                </a:cubicBezTo>
                <a:cubicBezTo>
                  <a:pt x="67" y="312"/>
                  <a:pt x="63" y="308"/>
                  <a:pt x="62" y="307"/>
                </a:cubicBezTo>
                <a:cubicBezTo>
                  <a:pt x="62" y="307"/>
                  <a:pt x="63" y="305"/>
                  <a:pt x="69" y="302"/>
                </a:cubicBez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 name="Freeform 14"/>
          <p:cNvSpPr>
            <a:spLocks/>
          </p:cNvSpPr>
          <p:nvPr userDrawn="1"/>
        </p:nvSpPr>
        <p:spPr bwMode="auto">
          <a:xfrm>
            <a:off x="1493637" y="5713374"/>
            <a:ext cx="1189402" cy="1150062"/>
          </a:xfrm>
          <a:custGeom>
            <a:avLst/>
            <a:gdLst/>
            <a:ahLst/>
            <a:cxnLst>
              <a:cxn ang="0">
                <a:pos x="39" y="371"/>
              </a:cxn>
              <a:cxn ang="0">
                <a:pos x="269" y="363"/>
              </a:cxn>
              <a:cxn ang="0">
                <a:pos x="267" y="356"/>
              </a:cxn>
              <a:cxn ang="0">
                <a:pos x="279" y="347"/>
              </a:cxn>
              <a:cxn ang="0">
                <a:pos x="298" y="371"/>
              </a:cxn>
              <a:cxn ang="0">
                <a:pos x="381" y="369"/>
              </a:cxn>
              <a:cxn ang="0">
                <a:pos x="378" y="345"/>
              </a:cxn>
              <a:cxn ang="0">
                <a:pos x="339" y="290"/>
              </a:cxn>
              <a:cxn ang="0">
                <a:pos x="279" y="225"/>
              </a:cxn>
              <a:cxn ang="0">
                <a:pos x="202" y="196"/>
              </a:cxn>
              <a:cxn ang="0">
                <a:pos x="196" y="177"/>
              </a:cxn>
              <a:cxn ang="0">
                <a:pos x="196" y="178"/>
              </a:cxn>
              <a:cxn ang="0">
                <a:pos x="201" y="153"/>
              </a:cxn>
              <a:cxn ang="0">
                <a:pos x="209" y="146"/>
              </a:cxn>
              <a:cxn ang="0">
                <a:pos x="219" y="102"/>
              </a:cxn>
              <a:cxn ang="0">
                <a:pos x="218" y="101"/>
              </a:cxn>
              <a:cxn ang="0">
                <a:pos x="219" y="50"/>
              </a:cxn>
              <a:cxn ang="0">
                <a:pos x="117" y="21"/>
              </a:cxn>
              <a:cxn ang="0">
                <a:pos x="98" y="94"/>
              </a:cxn>
              <a:cxn ang="0">
                <a:pos x="100" y="139"/>
              </a:cxn>
              <a:cxn ang="0">
                <a:pos x="113" y="164"/>
              </a:cxn>
              <a:cxn ang="0">
                <a:pos x="113" y="164"/>
              </a:cxn>
              <a:cxn ang="0">
                <a:pos x="114" y="165"/>
              </a:cxn>
              <a:cxn ang="0">
                <a:pos x="114" y="166"/>
              </a:cxn>
              <a:cxn ang="0">
                <a:pos x="114" y="167"/>
              </a:cxn>
              <a:cxn ang="0">
                <a:pos x="114" y="169"/>
              </a:cxn>
              <a:cxn ang="0">
                <a:pos x="114" y="171"/>
              </a:cxn>
              <a:cxn ang="0">
                <a:pos x="114" y="171"/>
              </a:cxn>
              <a:cxn ang="0">
                <a:pos x="112" y="175"/>
              </a:cxn>
              <a:cxn ang="0">
                <a:pos x="83" y="198"/>
              </a:cxn>
              <a:cxn ang="0">
                <a:pos x="22" y="209"/>
              </a:cxn>
              <a:cxn ang="0">
                <a:pos x="0" y="281"/>
              </a:cxn>
              <a:cxn ang="0">
                <a:pos x="37" y="359"/>
              </a:cxn>
            </a:cxnLst>
            <a:rect l="0" t="0" r="r" b="b"/>
            <a:pathLst>
              <a:path w="384" h="371">
                <a:moveTo>
                  <a:pt x="37" y="359"/>
                </a:moveTo>
                <a:cubicBezTo>
                  <a:pt x="38" y="363"/>
                  <a:pt x="38" y="367"/>
                  <a:pt x="39" y="371"/>
                </a:cubicBezTo>
                <a:cubicBezTo>
                  <a:pt x="269" y="371"/>
                  <a:pt x="269" y="371"/>
                  <a:pt x="269" y="371"/>
                </a:cubicBezTo>
                <a:cubicBezTo>
                  <a:pt x="269" y="368"/>
                  <a:pt x="269" y="366"/>
                  <a:pt x="269" y="363"/>
                </a:cubicBezTo>
                <a:cubicBezTo>
                  <a:pt x="268" y="361"/>
                  <a:pt x="268" y="359"/>
                  <a:pt x="267" y="357"/>
                </a:cubicBezTo>
                <a:cubicBezTo>
                  <a:pt x="267" y="356"/>
                  <a:pt x="267" y="356"/>
                  <a:pt x="267" y="356"/>
                </a:cubicBezTo>
                <a:cubicBezTo>
                  <a:pt x="267" y="351"/>
                  <a:pt x="270" y="344"/>
                  <a:pt x="275" y="345"/>
                </a:cubicBezTo>
                <a:cubicBezTo>
                  <a:pt x="276" y="345"/>
                  <a:pt x="277" y="346"/>
                  <a:pt x="279" y="347"/>
                </a:cubicBezTo>
                <a:cubicBezTo>
                  <a:pt x="285" y="351"/>
                  <a:pt x="295" y="358"/>
                  <a:pt x="296" y="361"/>
                </a:cubicBezTo>
                <a:cubicBezTo>
                  <a:pt x="296" y="362"/>
                  <a:pt x="297" y="367"/>
                  <a:pt x="298" y="371"/>
                </a:cubicBezTo>
                <a:cubicBezTo>
                  <a:pt x="382" y="371"/>
                  <a:pt x="382" y="371"/>
                  <a:pt x="382" y="371"/>
                </a:cubicBezTo>
                <a:cubicBezTo>
                  <a:pt x="382" y="370"/>
                  <a:pt x="381" y="369"/>
                  <a:pt x="381" y="369"/>
                </a:cubicBezTo>
                <a:cubicBezTo>
                  <a:pt x="383" y="366"/>
                  <a:pt x="384" y="361"/>
                  <a:pt x="384" y="357"/>
                </a:cubicBezTo>
                <a:cubicBezTo>
                  <a:pt x="384" y="350"/>
                  <a:pt x="379" y="352"/>
                  <a:pt x="378" y="345"/>
                </a:cubicBezTo>
                <a:cubicBezTo>
                  <a:pt x="376" y="337"/>
                  <a:pt x="367" y="330"/>
                  <a:pt x="363" y="322"/>
                </a:cubicBezTo>
                <a:cubicBezTo>
                  <a:pt x="358" y="314"/>
                  <a:pt x="345" y="298"/>
                  <a:pt x="339" y="290"/>
                </a:cubicBezTo>
                <a:cubicBezTo>
                  <a:pt x="333" y="281"/>
                  <a:pt x="323" y="269"/>
                  <a:pt x="318" y="259"/>
                </a:cubicBezTo>
                <a:cubicBezTo>
                  <a:pt x="312" y="247"/>
                  <a:pt x="294" y="233"/>
                  <a:pt x="279" y="225"/>
                </a:cubicBezTo>
                <a:cubicBezTo>
                  <a:pt x="274" y="222"/>
                  <a:pt x="269" y="219"/>
                  <a:pt x="265" y="218"/>
                </a:cubicBezTo>
                <a:cubicBezTo>
                  <a:pt x="258" y="215"/>
                  <a:pt x="204" y="201"/>
                  <a:pt x="202" y="196"/>
                </a:cubicBezTo>
                <a:cubicBezTo>
                  <a:pt x="200" y="191"/>
                  <a:pt x="199" y="185"/>
                  <a:pt x="197" y="180"/>
                </a:cubicBezTo>
                <a:cubicBezTo>
                  <a:pt x="196" y="177"/>
                  <a:pt x="196" y="177"/>
                  <a:pt x="196" y="177"/>
                </a:cubicBezTo>
                <a:cubicBezTo>
                  <a:pt x="196" y="179"/>
                  <a:pt x="196" y="179"/>
                  <a:pt x="196" y="179"/>
                </a:cubicBezTo>
                <a:cubicBezTo>
                  <a:pt x="196" y="178"/>
                  <a:pt x="196" y="178"/>
                  <a:pt x="196" y="178"/>
                </a:cubicBezTo>
                <a:cubicBezTo>
                  <a:pt x="196" y="178"/>
                  <a:pt x="196" y="172"/>
                  <a:pt x="198" y="167"/>
                </a:cubicBezTo>
                <a:cubicBezTo>
                  <a:pt x="199" y="164"/>
                  <a:pt x="200" y="158"/>
                  <a:pt x="201" y="153"/>
                </a:cubicBezTo>
                <a:cubicBezTo>
                  <a:pt x="202" y="148"/>
                  <a:pt x="203" y="145"/>
                  <a:pt x="203" y="145"/>
                </a:cubicBezTo>
                <a:cubicBezTo>
                  <a:pt x="203" y="145"/>
                  <a:pt x="205" y="148"/>
                  <a:pt x="209" y="146"/>
                </a:cubicBezTo>
                <a:cubicBezTo>
                  <a:pt x="213" y="145"/>
                  <a:pt x="212" y="140"/>
                  <a:pt x="217" y="121"/>
                </a:cubicBezTo>
                <a:cubicBezTo>
                  <a:pt x="222" y="105"/>
                  <a:pt x="220" y="102"/>
                  <a:pt x="219" y="102"/>
                </a:cubicBezTo>
                <a:cubicBezTo>
                  <a:pt x="218" y="102"/>
                  <a:pt x="218" y="102"/>
                  <a:pt x="218" y="101"/>
                </a:cubicBezTo>
                <a:cubicBezTo>
                  <a:pt x="218" y="101"/>
                  <a:pt x="218" y="101"/>
                  <a:pt x="218" y="101"/>
                </a:cubicBezTo>
                <a:cubicBezTo>
                  <a:pt x="218" y="101"/>
                  <a:pt x="218" y="101"/>
                  <a:pt x="218" y="101"/>
                </a:cubicBezTo>
                <a:cubicBezTo>
                  <a:pt x="218" y="101"/>
                  <a:pt x="227" y="76"/>
                  <a:pt x="219" y="50"/>
                </a:cubicBezTo>
                <a:cubicBezTo>
                  <a:pt x="212" y="24"/>
                  <a:pt x="190" y="3"/>
                  <a:pt x="161" y="1"/>
                </a:cubicBezTo>
                <a:cubicBezTo>
                  <a:pt x="144" y="0"/>
                  <a:pt x="129" y="10"/>
                  <a:pt x="117" y="21"/>
                </a:cubicBezTo>
                <a:cubicBezTo>
                  <a:pt x="110" y="29"/>
                  <a:pt x="104" y="37"/>
                  <a:pt x="100" y="45"/>
                </a:cubicBezTo>
                <a:cubicBezTo>
                  <a:pt x="90" y="62"/>
                  <a:pt x="98" y="94"/>
                  <a:pt x="98" y="94"/>
                </a:cubicBezTo>
                <a:cubicBezTo>
                  <a:pt x="98" y="94"/>
                  <a:pt x="92" y="91"/>
                  <a:pt x="91" y="102"/>
                </a:cubicBezTo>
                <a:cubicBezTo>
                  <a:pt x="91" y="114"/>
                  <a:pt x="95" y="137"/>
                  <a:pt x="100" y="139"/>
                </a:cubicBezTo>
                <a:cubicBezTo>
                  <a:pt x="104" y="142"/>
                  <a:pt x="108" y="133"/>
                  <a:pt x="109" y="142"/>
                </a:cubicBezTo>
                <a:cubicBezTo>
                  <a:pt x="110" y="150"/>
                  <a:pt x="113" y="164"/>
                  <a:pt x="113" y="164"/>
                </a:cubicBezTo>
                <a:cubicBezTo>
                  <a:pt x="113" y="164"/>
                  <a:pt x="113" y="164"/>
                  <a:pt x="113" y="164"/>
                </a:cubicBezTo>
                <a:cubicBezTo>
                  <a:pt x="113" y="164"/>
                  <a:pt x="113" y="164"/>
                  <a:pt x="113" y="164"/>
                </a:cubicBezTo>
                <a:cubicBezTo>
                  <a:pt x="113" y="164"/>
                  <a:pt x="113" y="164"/>
                  <a:pt x="113" y="164"/>
                </a:cubicBezTo>
                <a:cubicBezTo>
                  <a:pt x="114" y="165"/>
                  <a:pt x="114" y="165"/>
                  <a:pt x="114" y="165"/>
                </a:cubicBezTo>
                <a:cubicBezTo>
                  <a:pt x="114" y="165"/>
                  <a:pt x="114" y="165"/>
                  <a:pt x="114" y="165"/>
                </a:cubicBezTo>
                <a:cubicBezTo>
                  <a:pt x="114" y="165"/>
                  <a:pt x="114" y="166"/>
                  <a:pt x="114" y="166"/>
                </a:cubicBezTo>
                <a:cubicBezTo>
                  <a:pt x="114" y="166"/>
                  <a:pt x="114" y="166"/>
                  <a:pt x="114" y="166"/>
                </a:cubicBezTo>
                <a:cubicBezTo>
                  <a:pt x="114" y="167"/>
                  <a:pt x="114" y="167"/>
                  <a:pt x="114" y="167"/>
                </a:cubicBezTo>
                <a:cubicBezTo>
                  <a:pt x="114" y="167"/>
                  <a:pt x="114" y="168"/>
                  <a:pt x="114" y="168"/>
                </a:cubicBezTo>
                <a:cubicBezTo>
                  <a:pt x="114" y="168"/>
                  <a:pt x="114" y="168"/>
                  <a:pt x="114" y="169"/>
                </a:cubicBezTo>
                <a:cubicBezTo>
                  <a:pt x="114" y="169"/>
                  <a:pt x="114" y="169"/>
                  <a:pt x="114" y="170"/>
                </a:cubicBezTo>
                <a:cubicBezTo>
                  <a:pt x="114" y="170"/>
                  <a:pt x="114" y="170"/>
                  <a:pt x="114" y="171"/>
                </a:cubicBezTo>
                <a:cubicBezTo>
                  <a:pt x="114" y="171"/>
                  <a:pt x="114" y="171"/>
                  <a:pt x="114" y="172"/>
                </a:cubicBezTo>
                <a:cubicBezTo>
                  <a:pt x="114" y="171"/>
                  <a:pt x="114" y="171"/>
                  <a:pt x="114" y="171"/>
                </a:cubicBezTo>
                <a:cubicBezTo>
                  <a:pt x="113" y="173"/>
                  <a:pt x="113" y="173"/>
                  <a:pt x="113" y="173"/>
                </a:cubicBezTo>
                <a:cubicBezTo>
                  <a:pt x="113" y="174"/>
                  <a:pt x="112" y="174"/>
                  <a:pt x="112" y="175"/>
                </a:cubicBezTo>
                <a:cubicBezTo>
                  <a:pt x="109" y="181"/>
                  <a:pt x="104" y="188"/>
                  <a:pt x="99" y="193"/>
                </a:cubicBezTo>
                <a:cubicBezTo>
                  <a:pt x="94" y="194"/>
                  <a:pt x="87" y="196"/>
                  <a:pt x="83" y="198"/>
                </a:cubicBezTo>
                <a:cubicBezTo>
                  <a:pt x="77" y="201"/>
                  <a:pt x="61" y="199"/>
                  <a:pt x="54" y="199"/>
                </a:cubicBezTo>
                <a:cubicBezTo>
                  <a:pt x="41" y="197"/>
                  <a:pt x="32" y="197"/>
                  <a:pt x="22" y="209"/>
                </a:cubicBezTo>
                <a:cubicBezTo>
                  <a:pt x="13" y="220"/>
                  <a:pt x="7" y="225"/>
                  <a:pt x="6" y="240"/>
                </a:cubicBezTo>
                <a:cubicBezTo>
                  <a:pt x="6" y="254"/>
                  <a:pt x="0" y="266"/>
                  <a:pt x="0" y="281"/>
                </a:cubicBezTo>
                <a:cubicBezTo>
                  <a:pt x="0" y="304"/>
                  <a:pt x="0" y="319"/>
                  <a:pt x="13" y="338"/>
                </a:cubicBezTo>
                <a:cubicBezTo>
                  <a:pt x="17" y="345"/>
                  <a:pt x="29" y="359"/>
                  <a:pt x="37" y="359"/>
                </a:cubicBezTo>
                <a:close/>
              </a:path>
            </a:pathLst>
          </a:custGeom>
          <a:solidFill>
            <a:schemeClr val="bg2">
              <a:lumMod val="9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5"/>
          <p:cNvSpPr>
            <a:spLocks/>
          </p:cNvSpPr>
          <p:nvPr userDrawn="1"/>
        </p:nvSpPr>
        <p:spPr bwMode="auto">
          <a:xfrm>
            <a:off x="886478" y="5763206"/>
            <a:ext cx="607159" cy="1100230"/>
          </a:xfrm>
          <a:custGeom>
            <a:avLst/>
            <a:gdLst/>
            <a:ahLst/>
            <a:cxnLst>
              <a:cxn ang="0">
                <a:pos x="22" y="232"/>
              </a:cxn>
              <a:cxn ang="0">
                <a:pos x="25" y="355"/>
              </a:cxn>
              <a:cxn ang="0">
                <a:pos x="196" y="355"/>
              </a:cxn>
              <a:cxn ang="0">
                <a:pos x="192" y="248"/>
              </a:cxn>
              <a:cxn ang="0">
                <a:pos x="185" y="219"/>
              </a:cxn>
              <a:cxn ang="0">
                <a:pos x="157" y="173"/>
              </a:cxn>
              <a:cxn ang="0">
                <a:pos x="147" y="162"/>
              </a:cxn>
              <a:cxn ang="0">
                <a:pos x="154" y="151"/>
              </a:cxn>
              <a:cxn ang="0">
                <a:pos x="155" y="143"/>
              </a:cxn>
              <a:cxn ang="0">
                <a:pos x="142" y="134"/>
              </a:cxn>
              <a:cxn ang="0">
                <a:pos x="142" y="128"/>
              </a:cxn>
              <a:cxn ang="0">
                <a:pos x="146" y="128"/>
              </a:cxn>
              <a:cxn ang="0">
                <a:pos x="151" y="124"/>
              </a:cxn>
              <a:cxn ang="0">
                <a:pos x="151" y="111"/>
              </a:cxn>
              <a:cxn ang="0">
                <a:pos x="149" y="108"/>
              </a:cxn>
              <a:cxn ang="0">
                <a:pos x="150" y="105"/>
              </a:cxn>
              <a:cxn ang="0">
                <a:pos x="148" y="102"/>
              </a:cxn>
              <a:cxn ang="0">
                <a:pos x="150" y="99"/>
              </a:cxn>
              <a:cxn ang="0">
                <a:pos x="150" y="92"/>
              </a:cxn>
              <a:cxn ang="0">
                <a:pos x="156" y="88"/>
              </a:cxn>
              <a:cxn ang="0">
                <a:pos x="155" y="81"/>
              </a:cxn>
              <a:cxn ang="0">
                <a:pos x="152" y="68"/>
              </a:cxn>
              <a:cxn ang="0">
                <a:pos x="156" y="60"/>
              </a:cxn>
              <a:cxn ang="0">
                <a:pos x="152" y="46"/>
              </a:cxn>
              <a:cxn ang="0">
                <a:pos x="153" y="40"/>
              </a:cxn>
              <a:cxn ang="0">
                <a:pos x="155" y="43"/>
              </a:cxn>
              <a:cxn ang="0">
                <a:pos x="156" y="27"/>
              </a:cxn>
              <a:cxn ang="0">
                <a:pos x="107" y="1"/>
              </a:cxn>
              <a:cxn ang="0">
                <a:pos x="64" y="99"/>
              </a:cxn>
              <a:cxn ang="0">
                <a:pos x="67" y="104"/>
              </a:cxn>
              <a:cxn ang="0">
                <a:pos x="66" y="109"/>
              </a:cxn>
              <a:cxn ang="0">
                <a:pos x="63" y="113"/>
              </a:cxn>
              <a:cxn ang="0">
                <a:pos x="56" y="112"/>
              </a:cxn>
              <a:cxn ang="0">
                <a:pos x="52" y="114"/>
              </a:cxn>
              <a:cxn ang="0">
                <a:pos x="46" y="127"/>
              </a:cxn>
              <a:cxn ang="0">
                <a:pos x="32" y="138"/>
              </a:cxn>
              <a:cxn ang="0">
                <a:pos x="23" y="141"/>
              </a:cxn>
              <a:cxn ang="0">
                <a:pos x="4" y="157"/>
              </a:cxn>
              <a:cxn ang="0">
                <a:pos x="6" y="195"/>
              </a:cxn>
              <a:cxn ang="0">
                <a:pos x="22" y="232"/>
              </a:cxn>
            </a:cxnLst>
            <a:rect l="0" t="0" r="r" b="b"/>
            <a:pathLst>
              <a:path w="196" h="355">
                <a:moveTo>
                  <a:pt x="22" y="232"/>
                </a:moveTo>
                <a:cubicBezTo>
                  <a:pt x="24" y="235"/>
                  <a:pt x="25" y="297"/>
                  <a:pt x="25" y="355"/>
                </a:cubicBezTo>
                <a:cubicBezTo>
                  <a:pt x="196" y="355"/>
                  <a:pt x="196" y="355"/>
                  <a:pt x="196" y="355"/>
                </a:cubicBezTo>
                <a:cubicBezTo>
                  <a:pt x="195" y="327"/>
                  <a:pt x="192" y="252"/>
                  <a:pt x="192" y="248"/>
                </a:cubicBezTo>
                <a:cubicBezTo>
                  <a:pt x="193" y="243"/>
                  <a:pt x="191" y="234"/>
                  <a:pt x="185" y="219"/>
                </a:cubicBezTo>
                <a:cubicBezTo>
                  <a:pt x="178" y="205"/>
                  <a:pt x="161" y="178"/>
                  <a:pt x="157" y="173"/>
                </a:cubicBezTo>
                <a:cubicBezTo>
                  <a:pt x="154" y="168"/>
                  <a:pt x="147" y="162"/>
                  <a:pt x="147" y="162"/>
                </a:cubicBezTo>
                <a:cubicBezTo>
                  <a:pt x="147" y="162"/>
                  <a:pt x="152" y="155"/>
                  <a:pt x="154" y="151"/>
                </a:cubicBezTo>
                <a:cubicBezTo>
                  <a:pt x="155" y="146"/>
                  <a:pt x="158" y="144"/>
                  <a:pt x="155" y="143"/>
                </a:cubicBezTo>
                <a:cubicBezTo>
                  <a:pt x="152" y="141"/>
                  <a:pt x="142" y="134"/>
                  <a:pt x="142" y="134"/>
                </a:cubicBezTo>
                <a:cubicBezTo>
                  <a:pt x="142" y="134"/>
                  <a:pt x="142" y="128"/>
                  <a:pt x="142" y="128"/>
                </a:cubicBezTo>
                <a:cubicBezTo>
                  <a:pt x="142" y="127"/>
                  <a:pt x="144" y="129"/>
                  <a:pt x="146" y="128"/>
                </a:cubicBezTo>
                <a:cubicBezTo>
                  <a:pt x="148" y="128"/>
                  <a:pt x="150" y="130"/>
                  <a:pt x="151" y="124"/>
                </a:cubicBezTo>
                <a:cubicBezTo>
                  <a:pt x="151" y="117"/>
                  <a:pt x="152" y="113"/>
                  <a:pt x="151" y="111"/>
                </a:cubicBezTo>
                <a:cubicBezTo>
                  <a:pt x="149" y="109"/>
                  <a:pt x="149" y="108"/>
                  <a:pt x="149" y="108"/>
                </a:cubicBezTo>
                <a:cubicBezTo>
                  <a:pt x="149" y="108"/>
                  <a:pt x="150" y="107"/>
                  <a:pt x="150" y="105"/>
                </a:cubicBezTo>
                <a:cubicBezTo>
                  <a:pt x="150" y="103"/>
                  <a:pt x="148" y="102"/>
                  <a:pt x="148" y="102"/>
                </a:cubicBezTo>
                <a:cubicBezTo>
                  <a:pt x="148" y="102"/>
                  <a:pt x="150" y="102"/>
                  <a:pt x="150" y="99"/>
                </a:cubicBezTo>
                <a:cubicBezTo>
                  <a:pt x="151" y="97"/>
                  <a:pt x="150" y="93"/>
                  <a:pt x="150" y="92"/>
                </a:cubicBezTo>
                <a:cubicBezTo>
                  <a:pt x="150" y="91"/>
                  <a:pt x="154" y="91"/>
                  <a:pt x="156" y="88"/>
                </a:cubicBezTo>
                <a:cubicBezTo>
                  <a:pt x="157" y="85"/>
                  <a:pt x="157" y="84"/>
                  <a:pt x="155" y="81"/>
                </a:cubicBezTo>
                <a:cubicBezTo>
                  <a:pt x="154" y="78"/>
                  <a:pt x="150" y="72"/>
                  <a:pt x="152" y="68"/>
                </a:cubicBezTo>
                <a:cubicBezTo>
                  <a:pt x="153" y="64"/>
                  <a:pt x="156" y="61"/>
                  <a:pt x="156" y="60"/>
                </a:cubicBezTo>
                <a:cubicBezTo>
                  <a:pt x="156" y="59"/>
                  <a:pt x="153" y="50"/>
                  <a:pt x="152" y="46"/>
                </a:cubicBezTo>
                <a:cubicBezTo>
                  <a:pt x="152" y="43"/>
                  <a:pt x="153" y="40"/>
                  <a:pt x="153" y="40"/>
                </a:cubicBezTo>
                <a:cubicBezTo>
                  <a:pt x="153" y="40"/>
                  <a:pt x="155" y="42"/>
                  <a:pt x="155" y="43"/>
                </a:cubicBezTo>
                <a:cubicBezTo>
                  <a:pt x="155" y="44"/>
                  <a:pt x="157" y="32"/>
                  <a:pt x="156" y="27"/>
                </a:cubicBezTo>
                <a:cubicBezTo>
                  <a:pt x="154" y="23"/>
                  <a:pt x="142" y="0"/>
                  <a:pt x="107" y="1"/>
                </a:cubicBezTo>
                <a:cubicBezTo>
                  <a:pt x="44" y="2"/>
                  <a:pt x="39" y="46"/>
                  <a:pt x="64" y="99"/>
                </a:cubicBezTo>
                <a:cubicBezTo>
                  <a:pt x="64" y="99"/>
                  <a:pt x="66" y="103"/>
                  <a:pt x="67" y="104"/>
                </a:cubicBezTo>
                <a:cubicBezTo>
                  <a:pt x="67" y="105"/>
                  <a:pt x="66" y="109"/>
                  <a:pt x="66" y="109"/>
                </a:cubicBezTo>
                <a:cubicBezTo>
                  <a:pt x="66" y="109"/>
                  <a:pt x="64" y="112"/>
                  <a:pt x="63" y="113"/>
                </a:cubicBezTo>
                <a:cubicBezTo>
                  <a:pt x="63" y="114"/>
                  <a:pt x="58" y="113"/>
                  <a:pt x="56" y="112"/>
                </a:cubicBezTo>
                <a:cubicBezTo>
                  <a:pt x="55" y="111"/>
                  <a:pt x="54" y="110"/>
                  <a:pt x="52" y="114"/>
                </a:cubicBezTo>
                <a:cubicBezTo>
                  <a:pt x="51" y="117"/>
                  <a:pt x="47" y="126"/>
                  <a:pt x="46" y="127"/>
                </a:cubicBezTo>
                <a:cubicBezTo>
                  <a:pt x="45" y="128"/>
                  <a:pt x="34" y="137"/>
                  <a:pt x="32" y="138"/>
                </a:cubicBezTo>
                <a:cubicBezTo>
                  <a:pt x="29" y="140"/>
                  <a:pt x="27" y="141"/>
                  <a:pt x="23" y="141"/>
                </a:cubicBezTo>
                <a:cubicBezTo>
                  <a:pt x="19" y="140"/>
                  <a:pt x="6" y="146"/>
                  <a:pt x="4" y="157"/>
                </a:cubicBezTo>
                <a:cubicBezTo>
                  <a:pt x="2" y="168"/>
                  <a:pt x="0" y="176"/>
                  <a:pt x="6" y="195"/>
                </a:cubicBezTo>
                <a:cubicBezTo>
                  <a:pt x="12" y="213"/>
                  <a:pt x="19" y="226"/>
                  <a:pt x="22" y="232"/>
                </a:cubicBezTo>
                <a:close/>
              </a:path>
            </a:pathLst>
          </a:custGeom>
          <a:solidFill>
            <a:srgbClr val="D4D4D4"/>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6"/>
          <p:cNvSpPr>
            <a:spLocks/>
          </p:cNvSpPr>
          <p:nvPr userDrawn="1"/>
        </p:nvSpPr>
        <p:spPr bwMode="auto">
          <a:xfrm>
            <a:off x="3692784" y="5988760"/>
            <a:ext cx="597979" cy="874676"/>
          </a:xfrm>
          <a:custGeom>
            <a:avLst/>
            <a:gdLst/>
            <a:ahLst/>
            <a:cxnLst>
              <a:cxn ang="0">
                <a:pos x="22" y="232"/>
              </a:cxn>
              <a:cxn ang="0">
                <a:pos x="24" y="282"/>
              </a:cxn>
              <a:cxn ang="0">
                <a:pos x="193" y="282"/>
              </a:cxn>
              <a:cxn ang="0">
                <a:pos x="192" y="247"/>
              </a:cxn>
              <a:cxn ang="0">
                <a:pos x="185" y="219"/>
              </a:cxn>
              <a:cxn ang="0">
                <a:pos x="157" y="173"/>
              </a:cxn>
              <a:cxn ang="0">
                <a:pos x="147" y="162"/>
              </a:cxn>
              <a:cxn ang="0">
                <a:pos x="153" y="150"/>
              </a:cxn>
              <a:cxn ang="0">
                <a:pos x="155" y="142"/>
              </a:cxn>
              <a:cxn ang="0">
                <a:pos x="142" y="133"/>
              </a:cxn>
              <a:cxn ang="0">
                <a:pos x="142" y="127"/>
              </a:cxn>
              <a:cxn ang="0">
                <a:pos x="146" y="128"/>
              </a:cxn>
              <a:cxn ang="0">
                <a:pos x="151" y="124"/>
              </a:cxn>
              <a:cxn ang="0">
                <a:pos x="151" y="111"/>
              </a:cxn>
              <a:cxn ang="0">
                <a:pos x="149" y="108"/>
              </a:cxn>
              <a:cxn ang="0">
                <a:pos x="150" y="105"/>
              </a:cxn>
              <a:cxn ang="0">
                <a:pos x="148" y="102"/>
              </a:cxn>
              <a:cxn ang="0">
                <a:pos x="150" y="99"/>
              </a:cxn>
              <a:cxn ang="0">
                <a:pos x="150" y="92"/>
              </a:cxn>
              <a:cxn ang="0">
                <a:pos x="156" y="88"/>
              </a:cxn>
              <a:cxn ang="0">
                <a:pos x="155" y="81"/>
              </a:cxn>
              <a:cxn ang="0">
                <a:pos x="152" y="68"/>
              </a:cxn>
              <a:cxn ang="0">
                <a:pos x="156" y="60"/>
              </a:cxn>
              <a:cxn ang="0">
                <a:pos x="152" y="46"/>
              </a:cxn>
              <a:cxn ang="0">
                <a:pos x="153" y="40"/>
              </a:cxn>
              <a:cxn ang="0">
                <a:pos x="155" y="43"/>
              </a:cxn>
              <a:cxn ang="0">
                <a:pos x="156" y="27"/>
              </a:cxn>
              <a:cxn ang="0">
                <a:pos x="107" y="1"/>
              </a:cxn>
              <a:cxn ang="0">
                <a:pos x="64" y="99"/>
              </a:cxn>
              <a:cxn ang="0">
                <a:pos x="67" y="104"/>
              </a:cxn>
              <a:cxn ang="0">
                <a:pos x="66" y="109"/>
              </a:cxn>
              <a:cxn ang="0">
                <a:pos x="63" y="113"/>
              </a:cxn>
              <a:cxn ang="0">
                <a:pos x="56" y="112"/>
              </a:cxn>
              <a:cxn ang="0">
                <a:pos x="52" y="114"/>
              </a:cxn>
              <a:cxn ang="0">
                <a:pos x="46" y="127"/>
              </a:cxn>
              <a:cxn ang="0">
                <a:pos x="32" y="138"/>
              </a:cxn>
              <a:cxn ang="0">
                <a:pos x="23" y="140"/>
              </a:cxn>
              <a:cxn ang="0">
                <a:pos x="4" y="157"/>
              </a:cxn>
              <a:cxn ang="0">
                <a:pos x="6" y="194"/>
              </a:cxn>
              <a:cxn ang="0">
                <a:pos x="22" y="232"/>
              </a:cxn>
            </a:cxnLst>
            <a:rect l="0" t="0" r="r" b="b"/>
            <a:pathLst>
              <a:path w="193" h="282">
                <a:moveTo>
                  <a:pt x="22" y="232"/>
                </a:moveTo>
                <a:cubicBezTo>
                  <a:pt x="23" y="233"/>
                  <a:pt x="24" y="254"/>
                  <a:pt x="24" y="282"/>
                </a:cubicBezTo>
                <a:cubicBezTo>
                  <a:pt x="193" y="282"/>
                  <a:pt x="193" y="282"/>
                  <a:pt x="193" y="282"/>
                </a:cubicBezTo>
                <a:cubicBezTo>
                  <a:pt x="193" y="264"/>
                  <a:pt x="192" y="249"/>
                  <a:pt x="192" y="247"/>
                </a:cubicBezTo>
                <a:cubicBezTo>
                  <a:pt x="193" y="243"/>
                  <a:pt x="191" y="233"/>
                  <a:pt x="185" y="219"/>
                </a:cubicBezTo>
                <a:cubicBezTo>
                  <a:pt x="178" y="205"/>
                  <a:pt x="161" y="178"/>
                  <a:pt x="157" y="173"/>
                </a:cubicBezTo>
                <a:cubicBezTo>
                  <a:pt x="154" y="168"/>
                  <a:pt x="147" y="162"/>
                  <a:pt x="147" y="162"/>
                </a:cubicBezTo>
                <a:cubicBezTo>
                  <a:pt x="147" y="162"/>
                  <a:pt x="152" y="155"/>
                  <a:pt x="153" y="150"/>
                </a:cubicBezTo>
                <a:cubicBezTo>
                  <a:pt x="155" y="146"/>
                  <a:pt x="158" y="144"/>
                  <a:pt x="155" y="142"/>
                </a:cubicBezTo>
                <a:cubicBezTo>
                  <a:pt x="152" y="141"/>
                  <a:pt x="142" y="133"/>
                  <a:pt x="142" y="133"/>
                </a:cubicBezTo>
                <a:cubicBezTo>
                  <a:pt x="142" y="133"/>
                  <a:pt x="142" y="128"/>
                  <a:pt x="142" y="127"/>
                </a:cubicBezTo>
                <a:cubicBezTo>
                  <a:pt x="142" y="126"/>
                  <a:pt x="144" y="128"/>
                  <a:pt x="146" y="128"/>
                </a:cubicBezTo>
                <a:cubicBezTo>
                  <a:pt x="148" y="128"/>
                  <a:pt x="150" y="130"/>
                  <a:pt x="151" y="124"/>
                </a:cubicBezTo>
                <a:cubicBezTo>
                  <a:pt x="151" y="117"/>
                  <a:pt x="152" y="113"/>
                  <a:pt x="151" y="111"/>
                </a:cubicBezTo>
                <a:cubicBezTo>
                  <a:pt x="149" y="109"/>
                  <a:pt x="149" y="108"/>
                  <a:pt x="149" y="108"/>
                </a:cubicBezTo>
                <a:cubicBezTo>
                  <a:pt x="149" y="108"/>
                  <a:pt x="150" y="107"/>
                  <a:pt x="150" y="105"/>
                </a:cubicBezTo>
                <a:cubicBezTo>
                  <a:pt x="150" y="103"/>
                  <a:pt x="148" y="102"/>
                  <a:pt x="148" y="102"/>
                </a:cubicBezTo>
                <a:cubicBezTo>
                  <a:pt x="148" y="102"/>
                  <a:pt x="150" y="101"/>
                  <a:pt x="150" y="99"/>
                </a:cubicBezTo>
                <a:cubicBezTo>
                  <a:pt x="151" y="97"/>
                  <a:pt x="150" y="92"/>
                  <a:pt x="150" y="92"/>
                </a:cubicBezTo>
                <a:cubicBezTo>
                  <a:pt x="150" y="91"/>
                  <a:pt x="154" y="91"/>
                  <a:pt x="156" y="88"/>
                </a:cubicBezTo>
                <a:cubicBezTo>
                  <a:pt x="157" y="85"/>
                  <a:pt x="157" y="84"/>
                  <a:pt x="155" y="81"/>
                </a:cubicBezTo>
                <a:cubicBezTo>
                  <a:pt x="153" y="78"/>
                  <a:pt x="150" y="72"/>
                  <a:pt x="152" y="68"/>
                </a:cubicBezTo>
                <a:cubicBezTo>
                  <a:pt x="153" y="64"/>
                  <a:pt x="156" y="61"/>
                  <a:pt x="156" y="60"/>
                </a:cubicBezTo>
                <a:cubicBezTo>
                  <a:pt x="156" y="58"/>
                  <a:pt x="153" y="50"/>
                  <a:pt x="152" y="46"/>
                </a:cubicBezTo>
                <a:cubicBezTo>
                  <a:pt x="152" y="43"/>
                  <a:pt x="153" y="40"/>
                  <a:pt x="153" y="40"/>
                </a:cubicBezTo>
                <a:cubicBezTo>
                  <a:pt x="153" y="40"/>
                  <a:pt x="155" y="42"/>
                  <a:pt x="155" y="43"/>
                </a:cubicBezTo>
                <a:cubicBezTo>
                  <a:pt x="155" y="43"/>
                  <a:pt x="157" y="32"/>
                  <a:pt x="156" y="27"/>
                </a:cubicBezTo>
                <a:cubicBezTo>
                  <a:pt x="154" y="23"/>
                  <a:pt x="142" y="0"/>
                  <a:pt x="107" y="1"/>
                </a:cubicBezTo>
                <a:cubicBezTo>
                  <a:pt x="44" y="2"/>
                  <a:pt x="39" y="46"/>
                  <a:pt x="64" y="99"/>
                </a:cubicBezTo>
                <a:cubicBezTo>
                  <a:pt x="64" y="99"/>
                  <a:pt x="66" y="103"/>
                  <a:pt x="67" y="104"/>
                </a:cubicBezTo>
                <a:cubicBezTo>
                  <a:pt x="67" y="105"/>
                  <a:pt x="66" y="109"/>
                  <a:pt x="66" y="109"/>
                </a:cubicBezTo>
                <a:cubicBezTo>
                  <a:pt x="66" y="109"/>
                  <a:pt x="64" y="112"/>
                  <a:pt x="63" y="113"/>
                </a:cubicBezTo>
                <a:cubicBezTo>
                  <a:pt x="63" y="114"/>
                  <a:pt x="58" y="113"/>
                  <a:pt x="56" y="112"/>
                </a:cubicBezTo>
                <a:cubicBezTo>
                  <a:pt x="55" y="111"/>
                  <a:pt x="54" y="110"/>
                  <a:pt x="52" y="114"/>
                </a:cubicBezTo>
                <a:cubicBezTo>
                  <a:pt x="51" y="117"/>
                  <a:pt x="47" y="126"/>
                  <a:pt x="46" y="127"/>
                </a:cubicBezTo>
                <a:cubicBezTo>
                  <a:pt x="45" y="128"/>
                  <a:pt x="34" y="137"/>
                  <a:pt x="32" y="138"/>
                </a:cubicBezTo>
                <a:cubicBezTo>
                  <a:pt x="29" y="140"/>
                  <a:pt x="27" y="141"/>
                  <a:pt x="23" y="140"/>
                </a:cubicBezTo>
                <a:cubicBezTo>
                  <a:pt x="19" y="140"/>
                  <a:pt x="6" y="145"/>
                  <a:pt x="4" y="157"/>
                </a:cubicBezTo>
                <a:cubicBezTo>
                  <a:pt x="2" y="168"/>
                  <a:pt x="0" y="176"/>
                  <a:pt x="6" y="194"/>
                </a:cubicBezTo>
                <a:cubicBezTo>
                  <a:pt x="12" y="213"/>
                  <a:pt x="19" y="225"/>
                  <a:pt x="22" y="232"/>
                </a:cubicBez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7"/>
          <p:cNvSpPr>
            <a:spLocks/>
          </p:cNvSpPr>
          <p:nvPr userDrawn="1"/>
        </p:nvSpPr>
        <p:spPr bwMode="auto">
          <a:xfrm>
            <a:off x="0" y="5611088"/>
            <a:ext cx="704200" cy="1252348"/>
          </a:xfrm>
          <a:custGeom>
            <a:avLst/>
            <a:gdLst/>
            <a:ahLst/>
            <a:cxnLst>
              <a:cxn ang="0">
                <a:pos x="0" y="404"/>
              </a:cxn>
              <a:cxn ang="0">
                <a:pos x="227" y="404"/>
              </a:cxn>
              <a:cxn ang="0">
                <a:pos x="226" y="385"/>
              </a:cxn>
              <a:cxn ang="0">
                <a:pos x="222" y="340"/>
              </a:cxn>
              <a:cxn ang="0">
                <a:pos x="222" y="340"/>
              </a:cxn>
              <a:cxn ang="0">
                <a:pos x="222" y="340"/>
              </a:cxn>
              <a:cxn ang="0">
                <a:pos x="182" y="194"/>
              </a:cxn>
              <a:cxn ang="0">
                <a:pos x="154" y="180"/>
              </a:cxn>
              <a:cxn ang="0">
                <a:pos x="133" y="170"/>
              </a:cxn>
              <a:cxn ang="0">
                <a:pos x="130" y="161"/>
              </a:cxn>
              <a:cxn ang="0">
                <a:pos x="129" y="155"/>
              </a:cxn>
              <a:cxn ang="0">
                <a:pos x="118" y="142"/>
              </a:cxn>
              <a:cxn ang="0">
                <a:pos x="118" y="143"/>
              </a:cxn>
              <a:cxn ang="0">
                <a:pos x="117" y="143"/>
              </a:cxn>
              <a:cxn ang="0">
                <a:pos x="121" y="129"/>
              </a:cxn>
              <a:cxn ang="0">
                <a:pos x="126" y="113"/>
              </a:cxn>
              <a:cxn ang="0">
                <a:pos x="130" y="116"/>
              </a:cxn>
              <a:cxn ang="0">
                <a:pos x="141" y="99"/>
              </a:cxn>
              <a:cxn ang="0">
                <a:pos x="140" y="84"/>
              </a:cxn>
              <a:cxn ang="0">
                <a:pos x="146" y="46"/>
              </a:cxn>
              <a:cxn ang="0">
                <a:pos x="94" y="1"/>
              </a:cxn>
              <a:cxn ang="0">
                <a:pos x="37" y="35"/>
              </a:cxn>
              <a:cxn ang="0">
                <a:pos x="36" y="72"/>
              </a:cxn>
              <a:cxn ang="0">
                <a:pos x="29" y="74"/>
              </a:cxn>
              <a:cxn ang="0">
                <a:pos x="33" y="100"/>
              </a:cxn>
              <a:cxn ang="0">
                <a:pos x="43" y="108"/>
              </a:cxn>
              <a:cxn ang="0">
                <a:pos x="45" y="119"/>
              </a:cxn>
              <a:cxn ang="0">
                <a:pos x="46" y="132"/>
              </a:cxn>
              <a:cxn ang="0">
                <a:pos x="46" y="132"/>
              </a:cxn>
              <a:cxn ang="0">
                <a:pos x="46" y="131"/>
              </a:cxn>
              <a:cxn ang="0">
                <a:pos x="46" y="131"/>
              </a:cxn>
              <a:cxn ang="0">
                <a:pos x="31" y="151"/>
              </a:cxn>
              <a:cxn ang="0">
                <a:pos x="19" y="155"/>
              </a:cxn>
              <a:cxn ang="0">
                <a:pos x="2" y="160"/>
              </a:cxn>
              <a:cxn ang="0">
                <a:pos x="2" y="160"/>
              </a:cxn>
              <a:cxn ang="0">
                <a:pos x="0" y="160"/>
              </a:cxn>
              <a:cxn ang="0">
                <a:pos x="0" y="404"/>
              </a:cxn>
            </a:cxnLst>
            <a:rect l="0" t="0" r="r" b="b"/>
            <a:pathLst>
              <a:path w="227" h="404">
                <a:moveTo>
                  <a:pt x="0" y="404"/>
                </a:moveTo>
                <a:cubicBezTo>
                  <a:pt x="227" y="404"/>
                  <a:pt x="227" y="404"/>
                  <a:pt x="227" y="404"/>
                </a:cubicBezTo>
                <a:cubicBezTo>
                  <a:pt x="227" y="399"/>
                  <a:pt x="226" y="393"/>
                  <a:pt x="226" y="385"/>
                </a:cubicBezTo>
                <a:cubicBezTo>
                  <a:pt x="224" y="359"/>
                  <a:pt x="222" y="340"/>
                  <a:pt x="222" y="340"/>
                </a:cubicBezTo>
                <a:cubicBezTo>
                  <a:pt x="222" y="340"/>
                  <a:pt x="222" y="340"/>
                  <a:pt x="222" y="340"/>
                </a:cubicBezTo>
                <a:cubicBezTo>
                  <a:pt x="222" y="340"/>
                  <a:pt x="222" y="340"/>
                  <a:pt x="222" y="340"/>
                </a:cubicBezTo>
                <a:cubicBezTo>
                  <a:pt x="222" y="339"/>
                  <a:pt x="194" y="202"/>
                  <a:pt x="182" y="194"/>
                </a:cubicBezTo>
                <a:cubicBezTo>
                  <a:pt x="176" y="190"/>
                  <a:pt x="164" y="185"/>
                  <a:pt x="154" y="180"/>
                </a:cubicBezTo>
                <a:cubicBezTo>
                  <a:pt x="144" y="176"/>
                  <a:pt x="136" y="172"/>
                  <a:pt x="133" y="170"/>
                </a:cubicBezTo>
                <a:cubicBezTo>
                  <a:pt x="130" y="167"/>
                  <a:pt x="130" y="164"/>
                  <a:pt x="130" y="161"/>
                </a:cubicBezTo>
                <a:cubicBezTo>
                  <a:pt x="130" y="159"/>
                  <a:pt x="129" y="157"/>
                  <a:pt x="129" y="155"/>
                </a:cubicBezTo>
                <a:cubicBezTo>
                  <a:pt x="127" y="149"/>
                  <a:pt x="119" y="143"/>
                  <a:pt x="118" y="142"/>
                </a:cubicBezTo>
                <a:cubicBezTo>
                  <a:pt x="118" y="142"/>
                  <a:pt x="118" y="143"/>
                  <a:pt x="118" y="143"/>
                </a:cubicBezTo>
                <a:cubicBezTo>
                  <a:pt x="117" y="143"/>
                  <a:pt x="117" y="143"/>
                  <a:pt x="117" y="143"/>
                </a:cubicBezTo>
                <a:cubicBezTo>
                  <a:pt x="117" y="143"/>
                  <a:pt x="119" y="134"/>
                  <a:pt x="121" y="129"/>
                </a:cubicBezTo>
                <a:cubicBezTo>
                  <a:pt x="123" y="124"/>
                  <a:pt x="126" y="113"/>
                  <a:pt x="126" y="113"/>
                </a:cubicBezTo>
                <a:cubicBezTo>
                  <a:pt x="126" y="113"/>
                  <a:pt x="126" y="116"/>
                  <a:pt x="130" y="116"/>
                </a:cubicBezTo>
                <a:cubicBezTo>
                  <a:pt x="134" y="116"/>
                  <a:pt x="137" y="112"/>
                  <a:pt x="141" y="99"/>
                </a:cubicBezTo>
                <a:cubicBezTo>
                  <a:pt x="146" y="85"/>
                  <a:pt x="140" y="84"/>
                  <a:pt x="140" y="84"/>
                </a:cubicBezTo>
                <a:cubicBezTo>
                  <a:pt x="140" y="84"/>
                  <a:pt x="147" y="66"/>
                  <a:pt x="146" y="46"/>
                </a:cubicBezTo>
                <a:cubicBezTo>
                  <a:pt x="145" y="26"/>
                  <a:pt x="112" y="2"/>
                  <a:pt x="94" y="1"/>
                </a:cubicBezTo>
                <a:cubicBezTo>
                  <a:pt x="76" y="0"/>
                  <a:pt x="45" y="15"/>
                  <a:pt x="37" y="35"/>
                </a:cubicBezTo>
                <a:cubicBezTo>
                  <a:pt x="29" y="55"/>
                  <a:pt x="36" y="72"/>
                  <a:pt x="36" y="72"/>
                </a:cubicBezTo>
                <a:cubicBezTo>
                  <a:pt x="36" y="72"/>
                  <a:pt x="31" y="70"/>
                  <a:pt x="29" y="74"/>
                </a:cubicBezTo>
                <a:cubicBezTo>
                  <a:pt x="27" y="78"/>
                  <a:pt x="31" y="92"/>
                  <a:pt x="33" y="100"/>
                </a:cubicBezTo>
                <a:cubicBezTo>
                  <a:pt x="36" y="108"/>
                  <a:pt x="43" y="108"/>
                  <a:pt x="43" y="108"/>
                </a:cubicBezTo>
                <a:cubicBezTo>
                  <a:pt x="43" y="108"/>
                  <a:pt x="43" y="112"/>
                  <a:pt x="45" y="119"/>
                </a:cubicBezTo>
                <a:cubicBezTo>
                  <a:pt x="47" y="125"/>
                  <a:pt x="46" y="132"/>
                  <a:pt x="46" y="132"/>
                </a:cubicBezTo>
                <a:cubicBezTo>
                  <a:pt x="46" y="132"/>
                  <a:pt x="46" y="132"/>
                  <a:pt x="46" y="132"/>
                </a:cubicBezTo>
                <a:cubicBezTo>
                  <a:pt x="46" y="131"/>
                  <a:pt x="46" y="131"/>
                  <a:pt x="46" y="131"/>
                </a:cubicBezTo>
                <a:cubicBezTo>
                  <a:pt x="46" y="131"/>
                  <a:pt x="46" y="131"/>
                  <a:pt x="46" y="131"/>
                </a:cubicBezTo>
                <a:cubicBezTo>
                  <a:pt x="46" y="131"/>
                  <a:pt x="36" y="151"/>
                  <a:pt x="31" y="151"/>
                </a:cubicBezTo>
                <a:cubicBezTo>
                  <a:pt x="29" y="151"/>
                  <a:pt x="24" y="153"/>
                  <a:pt x="19" y="155"/>
                </a:cubicBezTo>
                <a:cubicBezTo>
                  <a:pt x="13" y="157"/>
                  <a:pt x="6" y="160"/>
                  <a:pt x="2" y="160"/>
                </a:cubicBezTo>
                <a:cubicBezTo>
                  <a:pt x="2" y="160"/>
                  <a:pt x="2" y="160"/>
                  <a:pt x="2" y="160"/>
                </a:cubicBezTo>
                <a:cubicBezTo>
                  <a:pt x="1" y="160"/>
                  <a:pt x="0" y="160"/>
                  <a:pt x="0" y="160"/>
                </a:cubicBezTo>
                <a:lnTo>
                  <a:pt x="0" y="404"/>
                </a:lnTo>
                <a:close/>
              </a:path>
            </a:pathLst>
          </a:custGeom>
          <a:solidFill>
            <a:schemeClr val="bg2">
              <a:lumMod val="9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8"/>
          <p:cNvSpPr>
            <a:spLocks/>
          </p:cNvSpPr>
          <p:nvPr userDrawn="1"/>
        </p:nvSpPr>
        <p:spPr bwMode="auto">
          <a:xfrm>
            <a:off x="4432390" y="5435366"/>
            <a:ext cx="1214318" cy="1428070"/>
          </a:xfrm>
          <a:custGeom>
            <a:avLst/>
            <a:gdLst/>
            <a:ahLst/>
            <a:cxnLst>
              <a:cxn ang="0">
                <a:pos x="360" y="461"/>
              </a:cxn>
              <a:cxn ang="0">
                <a:pos x="384" y="394"/>
              </a:cxn>
              <a:cxn ang="0">
                <a:pos x="388" y="322"/>
              </a:cxn>
              <a:cxn ang="0">
                <a:pos x="371" y="283"/>
              </a:cxn>
              <a:cxn ang="0">
                <a:pos x="352" y="260"/>
              </a:cxn>
              <a:cxn ang="0">
                <a:pos x="346" y="248"/>
              </a:cxn>
              <a:cxn ang="0">
                <a:pos x="330" y="227"/>
              </a:cxn>
              <a:cxn ang="0">
                <a:pos x="320" y="198"/>
              </a:cxn>
              <a:cxn ang="0">
                <a:pos x="295" y="180"/>
              </a:cxn>
              <a:cxn ang="0">
                <a:pos x="256" y="178"/>
              </a:cxn>
              <a:cxn ang="0">
                <a:pos x="226" y="174"/>
              </a:cxn>
              <a:cxn ang="0">
                <a:pos x="223" y="167"/>
              </a:cxn>
              <a:cxn ang="0">
                <a:pos x="231" y="152"/>
              </a:cxn>
              <a:cxn ang="0">
                <a:pos x="237" y="126"/>
              </a:cxn>
              <a:cxn ang="0">
                <a:pos x="237" y="96"/>
              </a:cxn>
              <a:cxn ang="0">
                <a:pos x="237" y="86"/>
              </a:cxn>
              <a:cxn ang="0">
                <a:pos x="237" y="86"/>
              </a:cxn>
              <a:cxn ang="0">
                <a:pos x="237" y="85"/>
              </a:cxn>
              <a:cxn ang="0">
                <a:pos x="237" y="85"/>
              </a:cxn>
              <a:cxn ang="0">
                <a:pos x="237" y="85"/>
              </a:cxn>
              <a:cxn ang="0">
                <a:pos x="240" y="70"/>
              </a:cxn>
              <a:cxn ang="0">
                <a:pos x="232" y="24"/>
              </a:cxn>
              <a:cxn ang="0">
                <a:pos x="165" y="1"/>
              </a:cxn>
              <a:cxn ang="0">
                <a:pos x="107" y="53"/>
              </a:cxn>
              <a:cxn ang="0">
                <a:pos x="112" y="87"/>
              </a:cxn>
              <a:cxn ang="0">
                <a:pos x="112" y="87"/>
              </a:cxn>
              <a:cxn ang="0">
                <a:pos x="112" y="87"/>
              </a:cxn>
              <a:cxn ang="0">
                <a:pos x="112" y="87"/>
              </a:cxn>
              <a:cxn ang="0">
                <a:pos x="112" y="87"/>
              </a:cxn>
              <a:cxn ang="0">
                <a:pos x="112" y="87"/>
              </a:cxn>
              <a:cxn ang="0">
                <a:pos x="108" y="91"/>
              </a:cxn>
              <a:cxn ang="0">
                <a:pos x="122" y="129"/>
              </a:cxn>
              <a:cxn ang="0">
                <a:pos x="122" y="129"/>
              </a:cxn>
              <a:cxn ang="0">
                <a:pos x="122" y="130"/>
              </a:cxn>
              <a:cxn ang="0">
                <a:pos x="126" y="133"/>
              </a:cxn>
              <a:cxn ang="0">
                <a:pos x="126" y="134"/>
              </a:cxn>
              <a:cxn ang="0">
                <a:pos x="129" y="137"/>
              </a:cxn>
              <a:cxn ang="0">
                <a:pos x="130" y="138"/>
              </a:cxn>
              <a:cxn ang="0">
                <a:pos x="131" y="139"/>
              </a:cxn>
              <a:cxn ang="0">
                <a:pos x="131" y="140"/>
              </a:cxn>
              <a:cxn ang="0">
                <a:pos x="132" y="141"/>
              </a:cxn>
              <a:cxn ang="0">
                <a:pos x="132" y="142"/>
              </a:cxn>
              <a:cxn ang="0">
                <a:pos x="133" y="143"/>
              </a:cxn>
              <a:cxn ang="0">
                <a:pos x="133" y="144"/>
              </a:cxn>
              <a:cxn ang="0">
                <a:pos x="136" y="162"/>
              </a:cxn>
              <a:cxn ang="0">
                <a:pos x="129" y="170"/>
              </a:cxn>
              <a:cxn ang="0">
                <a:pos x="116" y="185"/>
              </a:cxn>
              <a:cxn ang="0">
                <a:pos x="88" y="198"/>
              </a:cxn>
              <a:cxn ang="0">
                <a:pos x="20" y="221"/>
              </a:cxn>
              <a:cxn ang="0">
                <a:pos x="2" y="371"/>
              </a:cxn>
              <a:cxn ang="0">
                <a:pos x="1" y="461"/>
              </a:cxn>
              <a:cxn ang="0">
                <a:pos x="360" y="461"/>
              </a:cxn>
            </a:cxnLst>
            <a:rect l="0" t="0" r="r" b="b"/>
            <a:pathLst>
              <a:path w="392" h="461">
                <a:moveTo>
                  <a:pt x="360" y="461"/>
                </a:moveTo>
                <a:cubicBezTo>
                  <a:pt x="365" y="448"/>
                  <a:pt x="380" y="409"/>
                  <a:pt x="384" y="394"/>
                </a:cubicBezTo>
                <a:cubicBezTo>
                  <a:pt x="388" y="376"/>
                  <a:pt x="392" y="350"/>
                  <a:pt x="388" y="322"/>
                </a:cubicBezTo>
                <a:cubicBezTo>
                  <a:pt x="384" y="295"/>
                  <a:pt x="377" y="287"/>
                  <a:pt x="371" y="283"/>
                </a:cubicBezTo>
                <a:cubicBezTo>
                  <a:pt x="365" y="279"/>
                  <a:pt x="355" y="269"/>
                  <a:pt x="352" y="260"/>
                </a:cubicBezTo>
                <a:cubicBezTo>
                  <a:pt x="349" y="251"/>
                  <a:pt x="345" y="251"/>
                  <a:pt x="346" y="248"/>
                </a:cubicBezTo>
                <a:cubicBezTo>
                  <a:pt x="346" y="245"/>
                  <a:pt x="333" y="231"/>
                  <a:pt x="330" y="227"/>
                </a:cubicBezTo>
                <a:cubicBezTo>
                  <a:pt x="327" y="224"/>
                  <a:pt x="329" y="219"/>
                  <a:pt x="320" y="198"/>
                </a:cubicBezTo>
                <a:cubicBezTo>
                  <a:pt x="310" y="178"/>
                  <a:pt x="295" y="180"/>
                  <a:pt x="295" y="180"/>
                </a:cubicBezTo>
                <a:cubicBezTo>
                  <a:pt x="295" y="180"/>
                  <a:pt x="264" y="180"/>
                  <a:pt x="256" y="178"/>
                </a:cubicBezTo>
                <a:cubicBezTo>
                  <a:pt x="247" y="175"/>
                  <a:pt x="226" y="174"/>
                  <a:pt x="226" y="174"/>
                </a:cubicBezTo>
                <a:cubicBezTo>
                  <a:pt x="223" y="167"/>
                  <a:pt x="223" y="167"/>
                  <a:pt x="223" y="167"/>
                </a:cubicBezTo>
                <a:cubicBezTo>
                  <a:pt x="223" y="167"/>
                  <a:pt x="226" y="161"/>
                  <a:pt x="231" y="152"/>
                </a:cubicBezTo>
                <a:cubicBezTo>
                  <a:pt x="235" y="144"/>
                  <a:pt x="236" y="137"/>
                  <a:pt x="237" y="126"/>
                </a:cubicBezTo>
                <a:cubicBezTo>
                  <a:pt x="239" y="115"/>
                  <a:pt x="239" y="101"/>
                  <a:pt x="237" y="96"/>
                </a:cubicBezTo>
                <a:cubicBezTo>
                  <a:pt x="235" y="92"/>
                  <a:pt x="236" y="88"/>
                  <a:pt x="237" y="86"/>
                </a:cubicBezTo>
                <a:cubicBezTo>
                  <a:pt x="237" y="86"/>
                  <a:pt x="237" y="86"/>
                  <a:pt x="237" y="86"/>
                </a:cubicBezTo>
                <a:cubicBezTo>
                  <a:pt x="237" y="86"/>
                  <a:pt x="237" y="85"/>
                  <a:pt x="237" y="85"/>
                </a:cubicBezTo>
                <a:cubicBezTo>
                  <a:pt x="237" y="85"/>
                  <a:pt x="237" y="85"/>
                  <a:pt x="237" y="85"/>
                </a:cubicBezTo>
                <a:cubicBezTo>
                  <a:pt x="237" y="85"/>
                  <a:pt x="237" y="85"/>
                  <a:pt x="237" y="85"/>
                </a:cubicBezTo>
                <a:cubicBezTo>
                  <a:pt x="237" y="85"/>
                  <a:pt x="239" y="85"/>
                  <a:pt x="240" y="70"/>
                </a:cubicBezTo>
                <a:cubicBezTo>
                  <a:pt x="240" y="55"/>
                  <a:pt x="238" y="36"/>
                  <a:pt x="232" y="24"/>
                </a:cubicBezTo>
                <a:cubicBezTo>
                  <a:pt x="226" y="12"/>
                  <a:pt x="210" y="0"/>
                  <a:pt x="165" y="1"/>
                </a:cubicBezTo>
                <a:cubicBezTo>
                  <a:pt x="120" y="3"/>
                  <a:pt x="109" y="38"/>
                  <a:pt x="107" y="53"/>
                </a:cubicBezTo>
                <a:cubicBezTo>
                  <a:pt x="106" y="69"/>
                  <a:pt x="112" y="87"/>
                  <a:pt x="112" y="87"/>
                </a:cubicBezTo>
                <a:cubicBezTo>
                  <a:pt x="112" y="87"/>
                  <a:pt x="112" y="87"/>
                  <a:pt x="112" y="87"/>
                </a:cubicBezTo>
                <a:cubicBezTo>
                  <a:pt x="112" y="87"/>
                  <a:pt x="112" y="87"/>
                  <a:pt x="112" y="87"/>
                </a:cubicBezTo>
                <a:cubicBezTo>
                  <a:pt x="112" y="87"/>
                  <a:pt x="112" y="87"/>
                  <a:pt x="112" y="87"/>
                </a:cubicBezTo>
                <a:cubicBezTo>
                  <a:pt x="112" y="87"/>
                  <a:pt x="112" y="87"/>
                  <a:pt x="112" y="87"/>
                </a:cubicBezTo>
                <a:cubicBezTo>
                  <a:pt x="112" y="87"/>
                  <a:pt x="112" y="87"/>
                  <a:pt x="112" y="87"/>
                </a:cubicBezTo>
                <a:cubicBezTo>
                  <a:pt x="111" y="87"/>
                  <a:pt x="109" y="87"/>
                  <a:pt x="108" y="91"/>
                </a:cubicBezTo>
                <a:cubicBezTo>
                  <a:pt x="102" y="104"/>
                  <a:pt x="113" y="119"/>
                  <a:pt x="122" y="129"/>
                </a:cubicBezTo>
                <a:cubicBezTo>
                  <a:pt x="122" y="129"/>
                  <a:pt x="122" y="129"/>
                  <a:pt x="122" y="129"/>
                </a:cubicBezTo>
                <a:cubicBezTo>
                  <a:pt x="122" y="129"/>
                  <a:pt x="122" y="129"/>
                  <a:pt x="122" y="130"/>
                </a:cubicBezTo>
                <a:cubicBezTo>
                  <a:pt x="124" y="131"/>
                  <a:pt x="125" y="132"/>
                  <a:pt x="126" y="133"/>
                </a:cubicBezTo>
                <a:cubicBezTo>
                  <a:pt x="126" y="133"/>
                  <a:pt x="126" y="133"/>
                  <a:pt x="126" y="134"/>
                </a:cubicBezTo>
                <a:cubicBezTo>
                  <a:pt x="127" y="135"/>
                  <a:pt x="128" y="136"/>
                  <a:pt x="129" y="137"/>
                </a:cubicBezTo>
                <a:cubicBezTo>
                  <a:pt x="130" y="137"/>
                  <a:pt x="130" y="138"/>
                  <a:pt x="130" y="138"/>
                </a:cubicBezTo>
                <a:cubicBezTo>
                  <a:pt x="130" y="138"/>
                  <a:pt x="131" y="138"/>
                  <a:pt x="131" y="139"/>
                </a:cubicBezTo>
                <a:cubicBezTo>
                  <a:pt x="131" y="139"/>
                  <a:pt x="131" y="139"/>
                  <a:pt x="131" y="140"/>
                </a:cubicBezTo>
                <a:cubicBezTo>
                  <a:pt x="131" y="140"/>
                  <a:pt x="132" y="140"/>
                  <a:pt x="132" y="141"/>
                </a:cubicBezTo>
                <a:cubicBezTo>
                  <a:pt x="132" y="141"/>
                  <a:pt x="132" y="142"/>
                  <a:pt x="132" y="142"/>
                </a:cubicBezTo>
                <a:cubicBezTo>
                  <a:pt x="132" y="142"/>
                  <a:pt x="132" y="143"/>
                  <a:pt x="133" y="143"/>
                </a:cubicBezTo>
                <a:cubicBezTo>
                  <a:pt x="133" y="143"/>
                  <a:pt x="133" y="144"/>
                  <a:pt x="133" y="144"/>
                </a:cubicBezTo>
                <a:cubicBezTo>
                  <a:pt x="135" y="152"/>
                  <a:pt x="136" y="162"/>
                  <a:pt x="136" y="162"/>
                </a:cubicBezTo>
                <a:cubicBezTo>
                  <a:pt x="136" y="162"/>
                  <a:pt x="132" y="165"/>
                  <a:pt x="129" y="170"/>
                </a:cubicBezTo>
                <a:cubicBezTo>
                  <a:pt x="126" y="175"/>
                  <a:pt x="116" y="185"/>
                  <a:pt x="116" y="185"/>
                </a:cubicBezTo>
                <a:cubicBezTo>
                  <a:pt x="116" y="185"/>
                  <a:pt x="104" y="191"/>
                  <a:pt x="88" y="198"/>
                </a:cubicBezTo>
                <a:cubicBezTo>
                  <a:pt x="72" y="206"/>
                  <a:pt x="26" y="214"/>
                  <a:pt x="20" y="221"/>
                </a:cubicBezTo>
                <a:cubicBezTo>
                  <a:pt x="15" y="228"/>
                  <a:pt x="7" y="303"/>
                  <a:pt x="2" y="371"/>
                </a:cubicBezTo>
                <a:cubicBezTo>
                  <a:pt x="0" y="405"/>
                  <a:pt x="0" y="435"/>
                  <a:pt x="1" y="461"/>
                </a:cubicBezTo>
                <a:lnTo>
                  <a:pt x="360" y="461"/>
                </a:lnTo>
                <a:close/>
              </a:path>
            </a:pathLst>
          </a:custGeom>
          <a:solidFill>
            <a:srgbClr val="F5F5F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9"/>
          <p:cNvSpPr>
            <a:spLocks/>
          </p:cNvSpPr>
          <p:nvPr userDrawn="1"/>
        </p:nvSpPr>
        <p:spPr bwMode="auto">
          <a:xfrm>
            <a:off x="2878431" y="5881228"/>
            <a:ext cx="693709" cy="982208"/>
          </a:xfrm>
          <a:custGeom>
            <a:avLst/>
            <a:gdLst/>
            <a:ahLst/>
            <a:cxnLst>
              <a:cxn ang="0">
                <a:pos x="7" y="317"/>
              </a:cxn>
              <a:cxn ang="0">
                <a:pos x="174" y="317"/>
              </a:cxn>
              <a:cxn ang="0">
                <a:pos x="173" y="307"/>
              </a:cxn>
              <a:cxn ang="0">
                <a:pos x="212" y="293"/>
              </a:cxn>
              <a:cxn ang="0">
                <a:pos x="203" y="213"/>
              </a:cxn>
              <a:cxn ang="0">
                <a:pos x="195" y="183"/>
              </a:cxn>
              <a:cxn ang="0">
                <a:pos x="191" y="158"/>
              </a:cxn>
              <a:cxn ang="0">
                <a:pos x="158" y="141"/>
              </a:cxn>
              <a:cxn ang="0">
                <a:pos x="134" y="130"/>
              </a:cxn>
              <a:cxn ang="0">
                <a:pos x="125" y="122"/>
              </a:cxn>
              <a:cxn ang="0">
                <a:pos x="125" y="122"/>
              </a:cxn>
              <a:cxn ang="0">
                <a:pos x="123" y="122"/>
              </a:cxn>
              <a:cxn ang="0">
                <a:pos x="123" y="122"/>
              </a:cxn>
              <a:cxn ang="0">
                <a:pos x="122" y="122"/>
              </a:cxn>
              <a:cxn ang="0">
                <a:pos x="122" y="122"/>
              </a:cxn>
              <a:cxn ang="0">
                <a:pos x="121" y="122"/>
              </a:cxn>
              <a:cxn ang="0">
                <a:pos x="121" y="121"/>
              </a:cxn>
              <a:cxn ang="0">
                <a:pos x="121" y="121"/>
              </a:cxn>
              <a:cxn ang="0">
                <a:pos x="120" y="120"/>
              </a:cxn>
              <a:cxn ang="0">
                <a:pos x="117" y="112"/>
              </a:cxn>
              <a:cxn ang="0">
                <a:pos x="121" y="99"/>
              </a:cxn>
              <a:cxn ang="0">
                <a:pos x="127" y="81"/>
              </a:cxn>
              <a:cxn ang="0">
                <a:pos x="133" y="50"/>
              </a:cxn>
              <a:cxn ang="0">
                <a:pos x="96" y="0"/>
              </a:cxn>
              <a:cxn ang="0">
                <a:pos x="58" y="50"/>
              </a:cxn>
              <a:cxn ang="0">
                <a:pos x="65" y="84"/>
              </a:cxn>
              <a:cxn ang="0">
                <a:pos x="74" y="107"/>
              </a:cxn>
              <a:cxn ang="0">
                <a:pos x="71" y="119"/>
              </a:cxn>
              <a:cxn ang="0">
                <a:pos x="69" y="121"/>
              </a:cxn>
              <a:cxn ang="0">
                <a:pos x="68" y="122"/>
              </a:cxn>
              <a:cxn ang="0">
                <a:pos x="66" y="123"/>
              </a:cxn>
              <a:cxn ang="0">
                <a:pos x="65" y="124"/>
              </a:cxn>
              <a:cxn ang="0">
                <a:pos x="65" y="124"/>
              </a:cxn>
              <a:cxn ang="0">
                <a:pos x="46" y="143"/>
              </a:cxn>
              <a:cxn ang="0">
                <a:pos x="15" y="153"/>
              </a:cxn>
              <a:cxn ang="0">
                <a:pos x="5" y="168"/>
              </a:cxn>
              <a:cxn ang="0">
                <a:pos x="1" y="235"/>
              </a:cxn>
              <a:cxn ang="0">
                <a:pos x="5" y="312"/>
              </a:cxn>
              <a:cxn ang="0">
                <a:pos x="7" y="317"/>
              </a:cxn>
            </a:cxnLst>
            <a:rect l="0" t="0" r="r" b="b"/>
            <a:pathLst>
              <a:path w="224" h="317">
                <a:moveTo>
                  <a:pt x="7" y="317"/>
                </a:moveTo>
                <a:cubicBezTo>
                  <a:pt x="174" y="317"/>
                  <a:pt x="174" y="317"/>
                  <a:pt x="174" y="317"/>
                </a:cubicBezTo>
                <a:cubicBezTo>
                  <a:pt x="174" y="311"/>
                  <a:pt x="173" y="307"/>
                  <a:pt x="173" y="307"/>
                </a:cubicBezTo>
                <a:cubicBezTo>
                  <a:pt x="173" y="307"/>
                  <a:pt x="201" y="308"/>
                  <a:pt x="212" y="293"/>
                </a:cubicBezTo>
                <a:cubicBezTo>
                  <a:pt x="224" y="278"/>
                  <a:pt x="206" y="228"/>
                  <a:pt x="203" y="213"/>
                </a:cubicBezTo>
                <a:cubicBezTo>
                  <a:pt x="199" y="198"/>
                  <a:pt x="199" y="182"/>
                  <a:pt x="195" y="183"/>
                </a:cubicBezTo>
                <a:cubicBezTo>
                  <a:pt x="191" y="184"/>
                  <a:pt x="191" y="167"/>
                  <a:pt x="191" y="158"/>
                </a:cubicBezTo>
                <a:cubicBezTo>
                  <a:pt x="191" y="149"/>
                  <a:pt x="170" y="142"/>
                  <a:pt x="158" y="141"/>
                </a:cubicBezTo>
                <a:cubicBezTo>
                  <a:pt x="146" y="141"/>
                  <a:pt x="136" y="137"/>
                  <a:pt x="134" y="130"/>
                </a:cubicBezTo>
                <a:cubicBezTo>
                  <a:pt x="134" y="126"/>
                  <a:pt x="129" y="124"/>
                  <a:pt x="125" y="122"/>
                </a:cubicBezTo>
                <a:cubicBezTo>
                  <a:pt x="125" y="122"/>
                  <a:pt x="125" y="122"/>
                  <a:pt x="125" y="122"/>
                </a:cubicBezTo>
                <a:cubicBezTo>
                  <a:pt x="124" y="122"/>
                  <a:pt x="124" y="122"/>
                  <a:pt x="123" y="122"/>
                </a:cubicBezTo>
                <a:cubicBezTo>
                  <a:pt x="123" y="122"/>
                  <a:pt x="123" y="122"/>
                  <a:pt x="123" y="122"/>
                </a:cubicBezTo>
                <a:cubicBezTo>
                  <a:pt x="123" y="122"/>
                  <a:pt x="122" y="122"/>
                  <a:pt x="122" y="122"/>
                </a:cubicBezTo>
                <a:cubicBezTo>
                  <a:pt x="122" y="122"/>
                  <a:pt x="122" y="122"/>
                  <a:pt x="122" y="122"/>
                </a:cubicBezTo>
                <a:cubicBezTo>
                  <a:pt x="122" y="122"/>
                  <a:pt x="121" y="122"/>
                  <a:pt x="121" y="122"/>
                </a:cubicBezTo>
                <a:cubicBezTo>
                  <a:pt x="121" y="122"/>
                  <a:pt x="121" y="121"/>
                  <a:pt x="121" y="121"/>
                </a:cubicBezTo>
                <a:cubicBezTo>
                  <a:pt x="121" y="121"/>
                  <a:pt x="121" y="121"/>
                  <a:pt x="121" y="121"/>
                </a:cubicBezTo>
                <a:cubicBezTo>
                  <a:pt x="121" y="121"/>
                  <a:pt x="120" y="120"/>
                  <a:pt x="120" y="120"/>
                </a:cubicBezTo>
                <a:cubicBezTo>
                  <a:pt x="119" y="118"/>
                  <a:pt x="117" y="115"/>
                  <a:pt x="117" y="112"/>
                </a:cubicBezTo>
                <a:cubicBezTo>
                  <a:pt x="117" y="105"/>
                  <a:pt x="117" y="102"/>
                  <a:pt x="121" y="99"/>
                </a:cubicBezTo>
                <a:cubicBezTo>
                  <a:pt x="125" y="97"/>
                  <a:pt x="129" y="84"/>
                  <a:pt x="127" y="81"/>
                </a:cubicBezTo>
                <a:cubicBezTo>
                  <a:pt x="136" y="81"/>
                  <a:pt x="140" y="50"/>
                  <a:pt x="133" y="50"/>
                </a:cubicBezTo>
                <a:cubicBezTo>
                  <a:pt x="132" y="24"/>
                  <a:pt x="126" y="0"/>
                  <a:pt x="96" y="0"/>
                </a:cubicBezTo>
                <a:cubicBezTo>
                  <a:pt x="64" y="0"/>
                  <a:pt x="60" y="26"/>
                  <a:pt x="58" y="50"/>
                </a:cubicBezTo>
                <a:cubicBezTo>
                  <a:pt x="52" y="50"/>
                  <a:pt x="55" y="83"/>
                  <a:pt x="65" y="84"/>
                </a:cubicBezTo>
                <a:cubicBezTo>
                  <a:pt x="64" y="96"/>
                  <a:pt x="71" y="102"/>
                  <a:pt x="74" y="107"/>
                </a:cubicBezTo>
                <a:cubicBezTo>
                  <a:pt x="76" y="111"/>
                  <a:pt x="74" y="116"/>
                  <a:pt x="71" y="119"/>
                </a:cubicBezTo>
                <a:cubicBezTo>
                  <a:pt x="70" y="120"/>
                  <a:pt x="70" y="120"/>
                  <a:pt x="69" y="121"/>
                </a:cubicBezTo>
                <a:cubicBezTo>
                  <a:pt x="69" y="121"/>
                  <a:pt x="69" y="121"/>
                  <a:pt x="68" y="122"/>
                </a:cubicBezTo>
                <a:cubicBezTo>
                  <a:pt x="68" y="122"/>
                  <a:pt x="67" y="123"/>
                  <a:pt x="66" y="123"/>
                </a:cubicBezTo>
                <a:cubicBezTo>
                  <a:pt x="66" y="124"/>
                  <a:pt x="66" y="124"/>
                  <a:pt x="65" y="124"/>
                </a:cubicBezTo>
                <a:cubicBezTo>
                  <a:pt x="65" y="124"/>
                  <a:pt x="65" y="124"/>
                  <a:pt x="65" y="124"/>
                </a:cubicBezTo>
                <a:cubicBezTo>
                  <a:pt x="61" y="128"/>
                  <a:pt x="56" y="136"/>
                  <a:pt x="46" y="143"/>
                </a:cubicBezTo>
                <a:cubicBezTo>
                  <a:pt x="35" y="151"/>
                  <a:pt x="28" y="150"/>
                  <a:pt x="15" y="153"/>
                </a:cubicBezTo>
                <a:cubicBezTo>
                  <a:pt x="3" y="156"/>
                  <a:pt x="5" y="160"/>
                  <a:pt x="5" y="168"/>
                </a:cubicBezTo>
                <a:cubicBezTo>
                  <a:pt x="5" y="177"/>
                  <a:pt x="1" y="201"/>
                  <a:pt x="1" y="235"/>
                </a:cubicBezTo>
                <a:cubicBezTo>
                  <a:pt x="0" y="268"/>
                  <a:pt x="1" y="295"/>
                  <a:pt x="5" y="312"/>
                </a:cubicBezTo>
                <a:cubicBezTo>
                  <a:pt x="6" y="314"/>
                  <a:pt x="7" y="315"/>
                  <a:pt x="7" y="317"/>
                </a:cubicBezTo>
                <a:close/>
              </a:path>
            </a:pathLst>
          </a:custGeom>
          <a:solidFill>
            <a:srgbClr val="F5F5F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20"/>
          <p:cNvSpPr>
            <a:spLocks/>
          </p:cNvSpPr>
          <p:nvPr userDrawn="1"/>
        </p:nvSpPr>
        <p:spPr bwMode="auto">
          <a:xfrm>
            <a:off x="1279886" y="5837954"/>
            <a:ext cx="693709" cy="1025482"/>
          </a:xfrm>
          <a:custGeom>
            <a:avLst/>
            <a:gdLst/>
            <a:ahLst/>
            <a:cxnLst>
              <a:cxn ang="0">
                <a:pos x="25" y="329"/>
              </a:cxn>
              <a:cxn ang="0">
                <a:pos x="25" y="331"/>
              </a:cxn>
              <a:cxn ang="0">
                <a:pos x="176" y="331"/>
              </a:cxn>
              <a:cxn ang="0">
                <a:pos x="173" y="308"/>
              </a:cxn>
              <a:cxn ang="0">
                <a:pos x="212" y="294"/>
              </a:cxn>
              <a:cxn ang="0">
                <a:pos x="202" y="214"/>
              </a:cxn>
              <a:cxn ang="0">
                <a:pos x="195" y="184"/>
              </a:cxn>
              <a:cxn ang="0">
                <a:pos x="191" y="159"/>
              </a:cxn>
              <a:cxn ang="0">
                <a:pos x="158" y="142"/>
              </a:cxn>
              <a:cxn ang="0">
                <a:pos x="134" y="131"/>
              </a:cxn>
              <a:cxn ang="0">
                <a:pos x="125" y="123"/>
              </a:cxn>
              <a:cxn ang="0">
                <a:pos x="125" y="123"/>
              </a:cxn>
              <a:cxn ang="0">
                <a:pos x="123" y="123"/>
              </a:cxn>
              <a:cxn ang="0">
                <a:pos x="123" y="123"/>
              </a:cxn>
              <a:cxn ang="0">
                <a:pos x="122" y="122"/>
              </a:cxn>
              <a:cxn ang="0">
                <a:pos x="122" y="122"/>
              </a:cxn>
              <a:cxn ang="0">
                <a:pos x="121" y="122"/>
              </a:cxn>
              <a:cxn ang="0">
                <a:pos x="121" y="122"/>
              </a:cxn>
              <a:cxn ang="0">
                <a:pos x="121" y="122"/>
              </a:cxn>
              <a:cxn ang="0">
                <a:pos x="120" y="121"/>
              </a:cxn>
              <a:cxn ang="0">
                <a:pos x="117" y="112"/>
              </a:cxn>
              <a:cxn ang="0">
                <a:pos x="121" y="100"/>
              </a:cxn>
              <a:cxn ang="0">
                <a:pos x="127" y="82"/>
              </a:cxn>
              <a:cxn ang="0">
                <a:pos x="133" y="51"/>
              </a:cxn>
              <a:cxn ang="0">
                <a:pos x="96" y="1"/>
              </a:cxn>
              <a:cxn ang="0">
                <a:pos x="58" y="50"/>
              </a:cxn>
              <a:cxn ang="0">
                <a:pos x="65" y="84"/>
              </a:cxn>
              <a:cxn ang="0">
                <a:pos x="74" y="108"/>
              </a:cxn>
              <a:cxn ang="0">
                <a:pos x="70" y="120"/>
              </a:cxn>
              <a:cxn ang="0">
                <a:pos x="69" y="122"/>
              </a:cxn>
              <a:cxn ang="0">
                <a:pos x="68" y="122"/>
              </a:cxn>
              <a:cxn ang="0">
                <a:pos x="66" y="124"/>
              </a:cxn>
              <a:cxn ang="0">
                <a:pos x="65" y="125"/>
              </a:cxn>
              <a:cxn ang="0">
                <a:pos x="65" y="125"/>
              </a:cxn>
              <a:cxn ang="0">
                <a:pos x="46" y="144"/>
              </a:cxn>
              <a:cxn ang="0">
                <a:pos x="15" y="154"/>
              </a:cxn>
              <a:cxn ang="0">
                <a:pos x="5" y="169"/>
              </a:cxn>
              <a:cxn ang="0">
                <a:pos x="1" y="236"/>
              </a:cxn>
              <a:cxn ang="0">
                <a:pos x="5" y="312"/>
              </a:cxn>
              <a:cxn ang="0">
                <a:pos x="25" y="329"/>
              </a:cxn>
            </a:cxnLst>
            <a:rect l="0" t="0" r="r" b="b"/>
            <a:pathLst>
              <a:path w="224" h="331">
                <a:moveTo>
                  <a:pt x="25" y="329"/>
                </a:moveTo>
                <a:cubicBezTo>
                  <a:pt x="25" y="329"/>
                  <a:pt x="25" y="330"/>
                  <a:pt x="25" y="331"/>
                </a:cubicBezTo>
                <a:cubicBezTo>
                  <a:pt x="176" y="331"/>
                  <a:pt x="176" y="331"/>
                  <a:pt x="176" y="331"/>
                </a:cubicBezTo>
                <a:cubicBezTo>
                  <a:pt x="174" y="315"/>
                  <a:pt x="173" y="308"/>
                  <a:pt x="173" y="308"/>
                </a:cubicBezTo>
                <a:cubicBezTo>
                  <a:pt x="173" y="308"/>
                  <a:pt x="201" y="309"/>
                  <a:pt x="212" y="294"/>
                </a:cubicBezTo>
                <a:cubicBezTo>
                  <a:pt x="224" y="279"/>
                  <a:pt x="205" y="229"/>
                  <a:pt x="202" y="214"/>
                </a:cubicBezTo>
                <a:cubicBezTo>
                  <a:pt x="199" y="199"/>
                  <a:pt x="199" y="182"/>
                  <a:pt x="195" y="184"/>
                </a:cubicBezTo>
                <a:cubicBezTo>
                  <a:pt x="191" y="185"/>
                  <a:pt x="191" y="167"/>
                  <a:pt x="191" y="159"/>
                </a:cubicBezTo>
                <a:cubicBezTo>
                  <a:pt x="191" y="150"/>
                  <a:pt x="170" y="143"/>
                  <a:pt x="158" y="142"/>
                </a:cubicBezTo>
                <a:cubicBezTo>
                  <a:pt x="146" y="141"/>
                  <a:pt x="136" y="138"/>
                  <a:pt x="134" y="131"/>
                </a:cubicBezTo>
                <a:cubicBezTo>
                  <a:pt x="133" y="127"/>
                  <a:pt x="128" y="124"/>
                  <a:pt x="125" y="123"/>
                </a:cubicBezTo>
                <a:cubicBezTo>
                  <a:pt x="125" y="123"/>
                  <a:pt x="125" y="123"/>
                  <a:pt x="125" y="123"/>
                </a:cubicBezTo>
                <a:cubicBezTo>
                  <a:pt x="124" y="123"/>
                  <a:pt x="124" y="123"/>
                  <a:pt x="123" y="123"/>
                </a:cubicBezTo>
                <a:cubicBezTo>
                  <a:pt x="123" y="123"/>
                  <a:pt x="123" y="123"/>
                  <a:pt x="123" y="123"/>
                </a:cubicBezTo>
                <a:cubicBezTo>
                  <a:pt x="122" y="122"/>
                  <a:pt x="122" y="122"/>
                  <a:pt x="122" y="122"/>
                </a:cubicBezTo>
                <a:cubicBezTo>
                  <a:pt x="122" y="122"/>
                  <a:pt x="122" y="122"/>
                  <a:pt x="122" y="122"/>
                </a:cubicBezTo>
                <a:cubicBezTo>
                  <a:pt x="121" y="122"/>
                  <a:pt x="121" y="122"/>
                  <a:pt x="121" y="122"/>
                </a:cubicBezTo>
                <a:cubicBezTo>
                  <a:pt x="121" y="122"/>
                  <a:pt x="121" y="122"/>
                  <a:pt x="121" y="122"/>
                </a:cubicBezTo>
                <a:cubicBezTo>
                  <a:pt x="121" y="122"/>
                  <a:pt x="121" y="122"/>
                  <a:pt x="121" y="122"/>
                </a:cubicBezTo>
                <a:cubicBezTo>
                  <a:pt x="120" y="121"/>
                  <a:pt x="120" y="121"/>
                  <a:pt x="120" y="121"/>
                </a:cubicBezTo>
                <a:cubicBezTo>
                  <a:pt x="119" y="119"/>
                  <a:pt x="117" y="116"/>
                  <a:pt x="117" y="112"/>
                </a:cubicBezTo>
                <a:cubicBezTo>
                  <a:pt x="117" y="106"/>
                  <a:pt x="117" y="103"/>
                  <a:pt x="121" y="100"/>
                </a:cubicBezTo>
                <a:cubicBezTo>
                  <a:pt x="125" y="98"/>
                  <a:pt x="128" y="85"/>
                  <a:pt x="127" y="82"/>
                </a:cubicBezTo>
                <a:cubicBezTo>
                  <a:pt x="135" y="82"/>
                  <a:pt x="140" y="51"/>
                  <a:pt x="133" y="51"/>
                </a:cubicBezTo>
                <a:cubicBezTo>
                  <a:pt x="132" y="24"/>
                  <a:pt x="126" y="1"/>
                  <a:pt x="96" y="1"/>
                </a:cubicBezTo>
                <a:cubicBezTo>
                  <a:pt x="63" y="0"/>
                  <a:pt x="60" y="26"/>
                  <a:pt x="58" y="50"/>
                </a:cubicBezTo>
                <a:cubicBezTo>
                  <a:pt x="51" y="51"/>
                  <a:pt x="55" y="84"/>
                  <a:pt x="65" y="84"/>
                </a:cubicBezTo>
                <a:cubicBezTo>
                  <a:pt x="64" y="96"/>
                  <a:pt x="71" y="102"/>
                  <a:pt x="74" y="108"/>
                </a:cubicBezTo>
                <a:cubicBezTo>
                  <a:pt x="76" y="112"/>
                  <a:pt x="74" y="116"/>
                  <a:pt x="70" y="120"/>
                </a:cubicBezTo>
                <a:cubicBezTo>
                  <a:pt x="70" y="121"/>
                  <a:pt x="69" y="121"/>
                  <a:pt x="69" y="122"/>
                </a:cubicBezTo>
                <a:cubicBezTo>
                  <a:pt x="69" y="122"/>
                  <a:pt x="68" y="122"/>
                  <a:pt x="68" y="122"/>
                </a:cubicBezTo>
                <a:cubicBezTo>
                  <a:pt x="67" y="123"/>
                  <a:pt x="67" y="124"/>
                  <a:pt x="66" y="124"/>
                </a:cubicBezTo>
                <a:cubicBezTo>
                  <a:pt x="66" y="124"/>
                  <a:pt x="65" y="125"/>
                  <a:pt x="65" y="125"/>
                </a:cubicBezTo>
                <a:cubicBezTo>
                  <a:pt x="65" y="125"/>
                  <a:pt x="65" y="125"/>
                  <a:pt x="65" y="125"/>
                </a:cubicBezTo>
                <a:cubicBezTo>
                  <a:pt x="60" y="129"/>
                  <a:pt x="56" y="137"/>
                  <a:pt x="46" y="144"/>
                </a:cubicBezTo>
                <a:cubicBezTo>
                  <a:pt x="35" y="152"/>
                  <a:pt x="27" y="150"/>
                  <a:pt x="15" y="154"/>
                </a:cubicBezTo>
                <a:cubicBezTo>
                  <a:pt x="2" y="157"/>
                  <a:pt x="5" y="160"/>
                  <a:pt x="5" y="169"/>
                </a:cubicBezTo>
                <a:cubicBezTo>
                  <a:pt x="5" y="178"/>
                  <a:pt x="1" y="202"/>
                  <a:pt x="1" y="236"/>
                </a:cubicBezTo>
                <a:cubicBezTo>
                  <a:pt x="0" y="269"/>
                  <a:pt x="1" y="296"/>
                  <a:pt x="5" y="312"/>
                </a:cubicBezTo>
                <a:cubicBezTo>
                  <a:pt x="10" y="329"/>
                  <a:pt x="25" y="329"/>
                  <a:pt x="25" y="329"/>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21"/>
          <p:cNvSpPr>
            <a:spLocks/>
          </p:cNvSpPr>
          <p:nvPr userDrawn="1"/>
        </p:nvSpPr>
        <p:spPr bwMode="auto">
          <a:xfrm>
            <a:off x="5175931" y="5376356"/>
            <a:ext cx="790749" cy="1487080"/>
          </a:xfrm>
          <a:custGeom>
            <a:avLst/>
            <a:gdLst/>
            <a:ahLst/>
            <a:cxnLst>
              <a:cxn ang="0">
                <a:pos x="35" y="371"/>
              </a:cxn>
              <a:cxn ang="0">
                <a:pos x="31" y="411"/>
              </a:cxn>
              <a:cxn ang="0">
                <a:pos x="13" y="464"/>
              </a:cxn>
              <a:cxn ang="0">
                <a:pos x="35" y="468"/>
              </a:cxn>
              <a:cxn ang="0">
                <a:pos x="35" y="480"/>
              </a:cxn>
              <a:cxn ang="0">
                <a:pos x="222" y="480"/>
              </a:cxn>
              <a:cxn ang="0">
                <a:pos x="222" y="474"/>
              </a:cxn>
              <a:cxn ang="0">
                <a:pos x="235" y="472"/>
              </a:cxn>
              <a:cxn ang="0">
                <a:pos x="226" y="423"/>
              </a:cxn>
              <a:cxn ang="0">
                <a:pos x="219" y="357"/>
              </a:cxn>
              <a:cxn ang="0">
                <a:pos x="245" y="337"/>
              </a:cxn>
              <a:cxn ang="0">
                <a:pos x="252" y="271"/>
              </a:cxn>
              <a:cxn ang="0">
                <a:pos x="240" y="193"/>
              </a:cxn>
              <a:cxn ang="0">
                <a:pos x="203" y="172"/>
              </a:cxn>
              <a:cxn ang="0">
                <a:pos x="196" y="151"/>
              </a:cxn>
              <a:cxn ang="0">
                <a:pos x="183" y="111"/>
              </a:cxn>
              <a:cxn ang="0">
                <a:pos x="176" y="70"/>
              </a:cxn>
              <a:cxn ang="0">
                <a:pos x="168" y="41"/>
              </a:cxn>
              <a:cxn ang="0">
                <a:pos x="122" y="0"/>
              </a:cxn>
              <a:cxn ang="0">
                <a:pos x="122" y="0"/>
              </a:cxn>
              <a:cxn ang="0">
                <a:pos x="73" y="73"/>
              </a:cxn>
              <a:cxn ang="0">
                <a:pos x="72" y="115"/>
              </a:cxn>
              <a:cxn ang="0">
                <a:pos x="57" y="143"/>
              </a:cxn>
              <a:cxn ang="0">
                <a:pos x="55" y="165"/>
              </a:cxn>
              <a:cxn ang="0">
                <a:pos x="31" y="175"/>
              </a:cxn>
              <a:cxn ang="0">
                <a:pos x="8" y="232"/>
              </a:cxn>
              <a:cxn ang="0">
                <a:pos x="2" y="266"/>
              </a:cxn>
              <a:cxn ang="0">
                <a:pos x="2" y="344"/>
              </a:cxn>
              <a:cxn ang="0">
                <a:pos x="35" y="371"/>
              </a:cxn>
            </a:cxnLst>
            <a:rect l="0" t="0" r="r" b="b"/>
            <a:pathLst>
              <a:path w="255" h="480">
                <a:moveTo>
                  <a:pt x="35" y="371"/>
                </a:moveTo>
                <a:cubicBezTo>
                  <a:pt x="35" y="371"/>
                  <a:pt x="35" y="396"/>
                  <a:pt x="31" y="411"/>
                </a:cubicBezTo>
                <a:cubicBezTo>
                  <a:pt x="27" y="425"/>
                  <a:pt x="7" y="462"/>
                  <a:pt x="13" y="464"/>
                </a:cubicBezTo>
                <a:cubicBezTo>
                  <a:pt x="19" y="466"/>
                  <a:pt x="35" y="468"/>
                  <a:pt x="35" y="468"/>
                </a:cubicBezTo>
                <a:cubicBezTo>
                  <a:pt x="35" y="468"/>
                  <a:pt x="35" y="473"/>
                  <a:pt x="35" y="480"/>
                </a:cubicBezTo>
                <a:cubicBezTo>
                  <a:pt x="222" y="480"/>
                  <a:pt x="222" y="480"/>
                  <a:pt x="222" y="480"/>
                </a:cubicBezTo>
                <a:cubicBezTo>
                  <a:pt x="222" y="477"/>
                  <a:pt x="222" y="474"/>
                  <a:pt x="222" y="474"/>
                </a:cubicBezTo>
                <a:cubicBezTo>
                  <a:pt x="222" y="474"/>
                  <a:pt x="226" y="474"/>
                  <a:pt x="235" y="472"/>
                </a:cubicBezTo>
                <a:cubicBezTo>
                  <a:pt x="244" y="471"/>
                  <a:pt x="236" y="454"/>
                  <a:pt x="226" y="423"/>
                </a:cubicBezTo>
                <a:cubicBezTo>
                  <a:pt x="216" y="392"/>
                  <a:pt x="219" y="357"/>
                  <a:pt x="219" y="357"/>
                </a:cubicBezTo>
                <a:cubicBezTo>
                  <a:pt x="219" y="357"/>
                  <a:pt x="236" y="354"/>
                  <a:pt x="245" y="337"/>
                </a:cubicBezTo>
                <a:cubicBezTo>
                  <a:pt x="253" y="320"/>
                  <a:pt x="255" y="294"/>
                  <a:pt x="252" y="271"/>
                </a:cubicBezTo>
                <a:cubicBezTo>
                  <a:pt x="249" y="248"/>
                  <a:pt x="248" y="214"/>
                  <a:pt x="240" y="193"/>
                </a:cubicBezTo>
                <a:cubicBezTo>
                  <a:pt x="233" y="173"/>
                  <a:pt x="203" y="172"/>
                  <a:pt x="203" y="172"/>
                </a:cubicBezTo>
                <a:cubicBezTo>
                  <a:pt x="203" y="172"/>
                  <a:pt x="205" y="162"/>
                  <a:pt x="196" y="151"/>
                </a:cubicBezTo>
                <a:cubicBezTo>
                  <a:pt x="187" y="141"/>
                  <a:pt x="185" y="129"/>
                  <a:pt x="183" y="111"/>
                </a:cubicBezTo>
                <a:cubicBezTo>
                  <a:pt x="181" y="93"/>
                  <a:pt x="176" y="82"/>
                  <a:pt x="176" y="70"/>
                </a:cubicBezTo>
                <a:cubicBezTo>
                  <a:pt x="176" y="59"/>
                  <a:pt x="173" y="61"/>
                  <a:pt x="168" y="41"/>
                </a:cubicBezTo>
                <a:cubicBezTo>
                  <a:pt x="164" y="21"/>
                  <a:pt x="145" y="0"/>
                  <a:pt x="122" y="0"/>
                </a:cubicBezTo>
                <a:cubicBezTo>
                  <a:pt x="122" y="0"/>
                  <a:pt x="122" y="0"/>
                  <a:pt x="122" y="0"/>
                </a:cubicBezTo>
                <a:cubicBezTo>
                  <a:pt x="85" y="0"/>
                  <a:pt x="76" y="55"/>
                  <a:pt x="73" y="73"/>
                </a:cubicBezTo>
                <a:cubicBezTo>
                  <a:pt x="70" y="90"/>
                  <a:pt x="66" y="101"/>
                  <a:pt x="72" y="115"/>
                </a:cubicBezTo>
                <a:cubicBezTo>
                  <a:pt x="77" y="128"/>
                  <a:pt x="70" y="132"/>
                  <a:pt x="57" y="143"/>
                </a:cubicBezTo>
                <a:cubicBezTo>
                  <a:pt x="44" y="153"/>
                  <a:pt x="55" y="165"/>
                  <a:pt x="55" y="165"/>
                </a:cubicBezTo>
                <a:cubicBezTo>
                  <a:pt x="55" y="165"/>
                  <a:pt x="42" y="173"/>
                  <a:pt x="31" y="175"/>
                </a:cubicBezTo>
                <a:cubicBezTo>
                  <a:pt x="21" y="177"/>
                  <a:pt x="10" y="212"/>
                  <a:pt x="8" y="232"/>
                </a:cubicBezTo>
                <a:cubicBezTo>
                  <a:pt x="6" y="252"/>
                  <a:pt x="5" y="251"/>
                  <a:pt x="2" y="266"/>
                </a:cubicBezTo>
                <a:cubicBezTo>
                  <a:pt x="0" y="281"/>
                  <a:pt x="1" y="318"/>
                  <a:pt x="2" y="344"/>
                </a:cubicBezTo>
                <a:cubicBezTo>
                  <a:pt x="4" y="370"/>
                  <a:pt x="35" y="371"/>
                  <a:pt x="35" y="371"/>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3" name="Freeform 22"/>
          <p:cNvSpPr>
            <a:spLocks/>
          </p:cNvSpPr>
          <p:nvPr userDrawn="1"/>
        </p:nvSpPr>
        <p:spPr bwMode="auto">
          <a:xfrm>
            <a:off x="5446071" y="6122518"/>
            <a:ext cx="780258" cy="740918"/>
          </a:xfrm>
          <a:custGeom>
            <a:avLst/>
            <a:gdLst/>
            <a:ahLst/>
            <a:cxnLst>
              <a:cxn ang="0">
                <a:pos x="252" y="239"/>
              </a:cxn>
              <a:cxn ang="0">
                <a:pos x="214" y="200"/>
              </a:cxn>
              <a:cxn ang="0">
                <a:pos x="167" y="169"/>
              </a:cxn>
              <a:cxn ang="0">
                <a:pos x="172" y="157"/>
              </a:cxn>
              <a:cxn ang="0">
                <a:pos x="182" y="136"/>
              </a:cxn>
              <a:cxn ang="0">
                <a:pos x="187" y="130"/>
              </a:cxn>
              <a:cxn ang="0">
                <a:pos x="191" y="97"/>
              </a:cxn>
              <a:cxn ang="0">
                <a:pos x="188" y="92"/>
              </a:cxn>
              <a:cxn ang="0">
                <a:pos x="184" y="37"/>
              </a:cxn>
              <a:cxn ang="0">
                <a:pos x="138" y="0"/>
              </a:cxn>
              <a:cxn ang="0">
                <a:pos x="73" y="23"/>
              </a:cxn>
              <a:cxn ang="0">
                <a:pos x="57" y="68"/>
              </a:cxn>
              <a:cxn ang="0">
                <a:pos x="63" y="93"/>
              </a:cxn>
              <a:cxn ang="0">
                <a:pos x="61" y="107"/>
              </a:cxn>
              <a:cxn ang="0">
                <a:pos x="78" y="133"/>
              </a:cxn>
              <a:cxn ang="0">
                <a:pos x="83" y="148"/>
              </a:cxn>
              <a:cxn ang="0">
                <a:pos x="83" y="149"/>
              </a:cxn>
              <a:cxn ang="0">
                <a:pos x="83" y="149"/>
              </a:cxn>
              <a:cxn ang="0">
                <a:pos x="82" y="150"/>
              </a:cxn>
              <a:cxn ang="0">
                <a:pos x="82" y="151"/>
              </a:cxn>
              <a:cxn ang="0">
                <a:pos x="82" y="152"/>
              </a:cxn>
              <a:cxn ang="0">
                <a:pos x="82" y="152"/>
              </a:cxn>
              <a:cxn ang="0">
                <a:pos x="81" y="154"/>
              </a:cxn>
              <a:cxn ang="0">
                <a:pos x="81" y="154"/>
              </a:cxn>
              <a:cxn ang="0">
                <a:pos x="81" y="156"/>
              </a:cxn>
              <a:cxn ang="0">
                <a:pos x="80" y="157"/>
              </a:cxn>
              <a:cxn ang="0">
                <a:pos x="80" y="159"/>
              </a:cxn>
              <a:cxn ang="0">
                <a:pos x="80" y="159"/>
              </a:cxn>
              <a:cxn ang="0">
                <a:pos x="79" y="161"/>
              </a:cxn>
              <a:cxn ang="0">
                <a:pos x="79" y="162"/>
              </a:cxn>
              <a:cxn ang="0">
                <a:pos x="77" y="166"/>
              </a:cxn>
              <a:cxn ang="0">
                <a:pos x="77" y="166"/>
              </a:cxn>
              <a:cxn ang="0">
                <a:pos x="76" y="169"/>
              </a:cxn>
              <a:cxn ang="0">
                <a:pos x="76" y="169"/>
              </a:cxn>
              <a:cxn ang="0">
                <a:pos x="75" y="171"/>
              </a:cxn>
              <a:cxn ang="0">
                <a:pos x="75" y="171"/>
              </a:cxn>
              <a:cxn ang="0">
                <a:pos x="74" y="174"/>
              </a:cxn>
              <a:cxn ang="0">
                <a:pos x="74" y="175"/>
              </a:cxn>
              <a:cxn ang="0">
                <a:pos x="73" y="176"/>
              </a:cxn>
              <a:cxn ang="0">
                <a:pos x="73" y="176"/>
              </a:cxn>
              <a:cxn ang="0">
                <a:pos x="73" y="177"/>
              </a:cxn>
              <a:cxn ang="0">
                <a:pos x="34" y="187"/>
              </a:cxn>
              <a:cxn ang="0">
                <a:pos x="25" y="208"/>
              </a:cxn>
              <a:cxn ang="0">
                <a:pos x="0" y="239"/>
              </a:cxn>
              <a:cxn ang="0">
                <a:pos x="252" y="239"/>
              </a:cxn>
            </a:cxnLst>
            <a:rect l="0" t="0" r="r" b="b"/>
            <a:pathLst>
              <a:path w="252" h="239">
                <a:moveTo>
                  <a:pt x="252" y="239"/>
                </a:moveTo>
                <a:cubicBezTo>
                  <a:pt x="240" y="223"/>
                  <a:pt x="226" y="209"/>
                  <a:pt x="214" y="200"/>
                </a:cubicBezTo>
                <a:cubicBezTo>
                  <a:pt x="192" y="183"/>
                  <a:pt x="167" y="169"/>
                  <a:pt x="167" y="169"/>
                </a:cubicBezTo>
                <a:cubicBezTo>
                  <a:pt x="167" y="169"/>
                  <a:pt x="166" y="163"/>
                  <a:pt x="172" y="157"/>
                </a:cubicBezTo>
                <a:cubicBezTo>
                  <a:pt x="179" y="152"/>
                  <a:pt x="182" y="136"/>
                  <a:pt x="182" y="136"/>
                </a:cubicBezTo>
                <a:cubicBezTo>
                  <a:pt x="182" y="136"/>
                  <a:pt x="185" y="135"/>
                  <a:pt x="187" y="130"/>
                </a:cubicBezTo>
                <a:cubicBezTo>
                  <a:pt x="189" y="125"/>
                  <a:pt x="192" y="100"/>
                  <a:pt x="191" y="97"/>
                </a:cubicBezTo>
                <a:cubicBezTo>
                  <a:pt x="191" y="94"/>
                  <a:pt x="188" y="92"/>
                  <a:pt x="188" y="92"/>
                </a:cubicBezTo>
                <a:cubicBezTo>
                  <a:pt x="188" y="92"/>
                  <a:pt x="193" y="58"/>
                  <a:pt x="184" y="37"/>
                </a:cubicBezTo>
                <a:cubicBezTo>
                  <a:pt x="176" y="16"/>
                  <a:pt x="156" y="0"/>
                  <a:pt x="138" y="0"/>
                </a:cubicBezTo>
                <a:cubicBezTo>
                  <a:pt x="120" y="0"/>
                  <a:pt x="89" y="6"/>
                  <a:pt x="73" y="23"/>
                </a:cubicBezTo>
                <a:cubicBezTo>
                  <a:pt x="57" y="40"/>
                  <a:pt x="56" y="57"/>
                  <a:pt x="57" y="68"/>
                </a:cubicBezTo>
                <a:cubicBezTo>
                  <a:pt x="58" y="79"/>
                  <a:pt x="63" y="93"/>
                  <a:pt x="63" y="93"/>
                </a:cubicBezTo>
                <a:cubicBezTo>
                  <a:pt x="63" y="93"/>
                  <a:pt x="57" y="96"/>
                  <a:pt x="61" y="107"/>
                </a:cubicBezTo>
                <a:cubicBezTo>
                  <a:pt x="64" y="116"/>
                  <a:pt x="66" y="131"/>
                  <a:pt x="78" y="133"/>
                </a:cubicBezTo>
                <a:cubicBezTo>
                  <a:pt x="78" y="133"/>
                  <a:pt x="83" y="143"/>
                  <a:pt x="83" y="148"/>
                </a:cubicBezTo>
                <a:cubicBezTo>
                  <a:pt x="83" y="148"/>
                  <a:pt x="83" y="148"/>
                  <a:pt x="83" y="149"/>
                </a:cubicBezTo>
                <a:cubicBezTo>
                  <a:pt x="83" y="149"/>
                  <a:pt x="83" y="149"/>
                  <a:pt x="83" y="149"/>
                </a:cubicBezTo>
                <a:cubicBezTo>
                  <a:pt x="83" y="149"/>
                  <a:pt x="83" y="150"/>
                  <a:pt x="82" y="150"/>
                </a:cubicBezTo>
                <a:cubicBezTo>
                  <a:pt x="82" y="150"/>
                  <a:pt x="82" y="150"/>
                  <a:pt x="82" y="151"/>
                </a:cubicBezTo>
                <a:cubicBezTo>
                  <a:pt x="82" y="151"/>
                  <a:pt x="82" y="151"/>
                  <a:pt x="82" y="152"/>
                </a:cubicBezTo>
                <a:cubicBezTo>
                  <a:pt x="82" y="152"/>
                  <a:pt x="82" y="152"/>
                  <a:pt x="82" y="152"/>
                </a:cubicBezTo>
                <a:cubicBezTo>
                  <a:pt x="82" y="153"/>
                  <a:pt x="81" y="153"/>
                  <a:pt x="81" y="154"/>
                </a:cubicBezTo>
                <a:cubicBezTo>
                  <a:pt x="81" y="154"/>
                  <a:pt x="81" y="154"/>
                  <a:pt x="81" y="154"/>
                </a:cubicBezTo>
                <a:cubicBezTo>
                  <a:pt x="81" y="155"/>
                  <a:pt x="81" y="156"/>
                  <a:pt x="81" y="156"/>
                </a:cubicBezTo>
                <a:cubicBezTo>
                  <a:pt x="80" y="156"/>
                  <a:pt x="80" y="157"/>
                  <a:pt x="80" y="157"/>
                </a:cubicBezTo>
                <a:cubicBezTo>
                  <a:pt x="80" y="157"/>
                  <a:pt x="80" y="158"/>
                  <a:pt x="80" y="159"/>
                </a:cubicBezTo>
                <a:cubicBezTo>
                  <a:pt x="80" y="159"/>
                  <a:pt x="80" y="159"/>
                  <a:pt x="80" y="159"/>
                </a:cubicBezTo>
                <a:cubicBezTo>
                  <a:pt x="79" y="160"/>
                  <a:pt x="79" y="161"/>
                  <a:pt x="79" y="161"/>
                </a:cubicBezTo>
                <a:cubicBezTo>
                  <a:pt x="79" y="161"/>
                  <a:pt x="79" y="161"/>
                  <a:pt x="79" y="162"/>
                </a:cubicBezTo>
                <a:cubicBezTo>
                  <a:pt x="78" y="163"/>
                  <a:pt x="77" y="165"/>
                  <a:pt x="77" y="166"/>
                </a:cubicBezTo>
                <a:cubicBezTo>
                  <a:pt x="77" y="166"/>
                  <a:pt x="77" y="166"/>
                  <a:pt x="77" y="166"/>
                </a:cubicBezTo>
                <a:cubicBezTo>
                  <a:pt x="77" y="167"/>
                  <a:pt x="76" y="168"/>
                  <a:pt x="76" y="169"/>
                </a:cubicBezTo>
                <a:cubicBezTo>
                  <a:pt x="76" y="169"/>
                  <a:pt x="76" y="169"/>
                  <a:pt x="76" y="169"/>
                </a:cubicBezTo>
                <a:cubicBezTo>
                  <a:pt x="76" y="170"/>
                  <a:pt x="75" y="170"/>
                  <a:pt x="75" y="171"/>
                </a:cubicBezTo>
                <a:cubicBezTo>
                  <a:pt x="75" y="171"/>
                  <a:pt x="75" y="171"/>
                  <a:pt x="75" y="171"/>
                </a:cubicBezTo>
                <a:cubicBezTo>
                  <a:pt x="74" y="172"/>
                  <a:pt x="74" y="174"/>
                  <a:pt x="74" y="174"/>
                </a:cubicBezTo>
                <a:cubicBezTo>
                  <a:pt x="74" y="175"/>
                  <a:pt x="74" y="175"/>
                  <a:pt x="74" y="175"/>
                </a:cubicBezTo>
                <a:cubicBezTo>
                  <a:pt x="73" y="175"/>
                  <a:pt x="73" y="175"/>
                  <a:pt x="73" y="176"/>
                </a:cubicBezTo>
                <a:cubicBezTo>
                  <a:pt x="73" y="176"/>
                  <a:pt x="73" y="176"/>
                  <a:pt x="73" y="176"/>
                </a:cubicBezTo>
                <a:cubicBezTo>
                  <a:pt x="73" y="176"/>
                  <a:pt x="73" y="177"/>
                  <a:pt x="73" y="177"/>
                </a:cubicBezTo>
                <a:cubicBezTo>
                  <a:pt x="73" y="177"/>
                  <a:pt x="39" y="185"/>
                  <a:pt x="34" y="187"/>
                </a:cubicBezTo>
                <a:cubicBezTo>
                  <a:pt x="30" y="190"/>
                  <a:pt x="25" y="208"/>
                  <a:pt x="25" y="208"/>
                </a:cubicBezTo>
                <a:cubicBezTo>
                  <a:pt x="25" y="208"/>
                  <a:pt x="11" y="223"/>
                  <a:pt x="0" y="239"/>
                </a:cubicBezTo>
                <a:lnTo>
                  <a:pt x="252" y="239"/>
                </a:ln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23"/>
          <p:cNvSpPr>
            <a:spLocks/>
          </p:cNvSpPr>
          <p:nvPr userDrawn="1"/>
        </p:nvSpPr>
        <p:spPr bwMode="auto">
          <a:xfrm>
            <a:off x="2237177" y="6022855"/>
            <a:ext cx="402587" cy="840581"/>
          </a:xfrm>
          <a:custGeom>
            <a:avLst/>
            <a:gdLst/>
            <a:ahLst/>
            <a:cxnLst>
              <a:cxn ang="0">
                <a:pos x="2" y="244"/>
              </a:cxn>
              <a:cxn ang="0">
                <a:pos x="1" y="271"/>
              </a:cxn>
              <a:cxn ang="0">
                <a:pos x="124" y="271"/>
              </a:cxn>
              <a:cxn ang="0">
                <a:pos x="123" y="228"/>
              </a:cxn>
              <a:cxn ang="0">
                <a:pos x="118" y="164"/>
              </a:cxn>
              <a:cxn ang="0">
                <a:pos x="114" y="144"/>
              </a:cxn>
              <a:cxn ang="0">
                <a:pos x="118" y="109"/>
              </a:cxn>
              <a:cxn ang="0">
                <a:pos x="111" y="74"/>
              </a:cxn>
              <a:cxn ang="0">
                <a:pos x="95" y="40"/>
              </a:cxn>
              <a:cxn ang="0">
                <a:pos x="52" y="1"/>
              </a:cxn>
              <a:cxn ang="0">
                <a:pos x="48" y="0"/>
              </a:cxn>
              <a:cxn ang="0">
                <a:pos x="38" y="2"/>
              </a:cxn>
              <a:cxn ang="0">
                <a:pos x="14" y="18"/>
              </a:cxn>
              <a:cxn ang="0">
                <a:pos x="16" y="55"/>
              </a:cxn>
              <a:cxn ang="0">
                <a:pos x="16" y="65"/>
              </a:cxn>
              <a:cxn ang="0">
                <a:pos x="27" y="99"/>
              </a:cxn>
              <a:cxn ang="0">
                <a:pos x="42" y="106"/>
              </a:cxn>
              <a:cxn ang="0">
                <a:pos x="43" y="106"/>
              </a:cxn>
              <a:cxn ang="0">
                <a:pos x="39" y="125"/>
              </a:cxn>
              <a:cxn ang="0">
                <a:pos x="35" y="153"/>
              </a:cxn>
              <a:cxn ang="0">
                <a:pos x="37" y="157"/>
              </a:cxn>
              <a:cxn ang="0">
                <a:pos x="10" y="191"/>
              </a:cxn>
              <a:cxn ang="0">
                <a:pos x="2" y="244"/>
              </a:cxn>
            </a:cxnLst>
            <a:rect l="0" t="0" r="r" b="b"/>
            <a:pathLst>
              <a:path w="130" h="271">
                <a:moveTo>
                  <a:pt x="2" y="244"/>
                </a:moveTo>
                <a:cubicBezTo>
                  <a:pt x="2" y="251"/>
                  <a:pt x="1" y="262"/>
                  <a:pt x="1" y="271"/>
                </a:cubicBezTo>
                <a:cubicBezTo>
                  <a:pt x="124" y="271"/>
                  <a:pt x="124" y="271"/>
                  <a:pt x="124" y="271"/>
                </a:cubicBezTo>
                <a:cubicBezTo>
                  <a:pt x="128" y="260"/>
                  <a:pt x="128" y="253"/>
                  <a:pt x="123" y="228"/>
                </a:cubicBezTo>
                <a:cubicBezTo>
                  <a:pt x="118" y="201"/>
                  <a:pt x="118" y="179"/>
                  <a:pt x="118" y="164"/>
                </a:cubicBezTo>
                <a:cubicBezTo>
                  <a:pt x="118" y="156"/>
                  <a:pt x="116" y="149"/>
                  <a:pt x="114" y="144"/>
                </a:cubicBezTo>
                <a:cubicBezTo>
                  <a:pt x="130" y="128"/>
                  <a:pt x="108" y="124"/>
                  <a:pt x="118" y="109"/>
                </a:cubicBezTo>
                <a:cubicBezTo>
                  <a:pt x="129" y="92"/>
                  <a:pt x="103" y="95"/>
                  <a:pt x="111" y="74"/>
                </a:cubicBezTo>
                <a:cubicBezTo>
                  <a:pt x="120" y="54"/>
                  <a:pt x="95" y="80"/>
                  <a:pt x="95" y="40"/>
                </a:cubicBezTo>
                <a:cubicBezTo>
                  <a:pt x="96" y="15"/>
                  <a:pt x="74" y="1"/>
                  <a:pt x="52" y="1"/>
                </a:cubicBezTo>
                <a:cubicBezTo>
                  <a:pt x="51" y="0"/>
                  <a:pt x="49" y="0"/>
                  <a:pt x="48" y="0"/>
                </a:cubicBezTo>
                <a:cubicBezTo>
                  <a:pt x="44" y="0"/>
                  <a:pt x="41" y="1"/>
                  <a:pt x="38" y="2"/>
                </a:cubicBezTo>
                <a:cubicBezTo>
                  <a:pt x="29" y="5"/>
                  <a:pt x="20" y="10"/>
                  <a:pt x="14" y="18"/>
                </a:cubicBezTo>
                <a:cubicBezTo>
                  <a:pt x="7" y="28"/>
                  <a:pt x="10" y="45"/>
                  <a:pt x="16" y="55"/>
                </a:cubicBezTo>
                <a:cubicBezTo>
                  <a:pt x="16" y="57"/>
                  <a:pt x="16" y="60"/>
                  <a:pt x="16" y="65"/>
                </a:cubicBezTo>
                <a:cubicBezTo>
                  <a:pt x="17" y="76"/>
                  <a:pt x="24" y="91"/>
                  <a:pt x="27" y="99"/>
                </a:cubicBezTo>
                <a:cubicBezTo>
                  <a:pt x="30" y="106"/>
                  <a:pt x="35" y="107"/>
                  <a:pt x="42" y="106"/>
                </a:cubicBezTo>
                <a:cubicBezTo>
                  <a:pt x="42" y="106"/>
                  <a:pt x="42" y="106"/>
                  <a:pt x="43" y="106"/>
                </a:cubicBezTo>
                <a:cubicBezTo>
                  <a:pt x="42" y="112"/>
                  <a:pt x="35" y="119"/>
                  <a:pt x="39" y="125"/>
                </a:cubicBezTo>
                <a:cubicBezTo>
                  <a:pt x="45" y="134"/>
                  <a:pt x="31" y="140"/>
                  <a:pt x="35" y="153"/>
                </a:cubicBezTo>
                <a:cubicBezTo>
                  <a:pt x="35" y="154"/>
                  <a:pt x="36" y="155"/>
                  <a:pt x="37" y="157"/>
                </a:cubicBezTo>
                <a:cubicBezTo>
                  <a:pt x="29" y="166"/>
                  <a:pt x="19" y="178"/>
                  <a:pt x="10" y="191"/>
                </a:cubicBezTo>
                <a:cubicBezTo>
                  <a:pt x="0" y="209"/>
                  <a:pt x="2" y="229"/>
                  <a:pt x="2" y="244"/>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24"/>
          <p:cNvSpPr>
            <a:spLocks/>
          </p:cNvSpPr>
          <p:nvPr userDrawn="1"/>
        </p:nvSpPr>
        <p:spPr bwMode="auto">
          <a:xfrm>
            <a:off x="4107174" y="6119895"/>
            <a:ext cx="942867" cy="743541"/>
          </a:xfrm>
          <a:custGeom>
            <a:avLst/>
            <a:gdLst/>
            <a:ahLst/>
            <a:cxnLst>
              <a:cxn ang="0">
                <a:pos x="8" y="236"/>
              </a:cxn>
              <a:cxn ang="0">
                <a:pos x="216" y="240"/>
              </a:cxn>
              <a:cxn ang="0">
                <a:pos x="237" y="215"/>
              </a:cxn>
              <a:cxn ang="0">
                <a:pos x="243" y="218"/>
              </a:cxn>
              <a:cxn ang="0">
                <a:pos x="246" y="219"/>
              </a:cxn>
              <a:cxn ang="0">
                <a:pos x="253" y="220"/>
              </a:cxn>
              <a:cxn ang="0">
                <a:pos x="251" y="231"/>
              </a:cxn>
              <a:cxn ang="0">
                <a:pos x="248" y="240"/>
              </a:cxn>
              <a:cxn ang="0">
                <a:pos x="303" y="219"/>
              </a:cxn>
              <a:cxn ang="0">
                <a:pos x="304" y="211"/>
              </a:cxn>
              <a:cxn ang="0">
                <a:pos x="299" y="201"/>
              </a:cxn>
              <a:cxn ang="0">
                <a:pos x="290" y="183"/>
              </a:cxn>
              <a:cxn ang="0">
                <a:pos x="259" y="151"/>
              </a:cxn>
              <a:cxn ang="0">
                <a:pos x="236" y="129"/>
              </a:cxn>
              <a:cxn ang="0">
                <a:pos x="197" y="118"/>
              </a:cxn>
              <a:cxn ang="0">
                <a:pos x="190" y="117"/>
              </a:cxn>
              <a:cxn ang="0">
                <a:pos x="182" y="116"/>
              </a:cxn>
              <a:cxn ang="0">
                <a:pos x="170" y="105"/>
              </a:cxn>
              <a:cxn ang="0">
                <a:pos x="169" y="103"/>
              </a:cxn>
              <a:cxn ang="0">
                <a:pos x="168" y="103"/>
              </a:cxn>
              <a:cxn ang="0">
                <a:pos x="169" y="96"/>
              </a:cxn>
              <a:cxn ang="0">
                <a:pos x="176" y="88"/>
              </a:cxn>
              <a:cxn ang="0">
                <a:pos x="180" y="63"/>
              </a:cxn>
              <a:cxn ang="0">
                <a:pos x="101" y="32"/>
              </a:cxn>
              <a:cxn ang="0">
                <a:pos x="103" y="61"/>
              </a:cxn>
              <a:cxn ang="0">
                <a:pos x="102" y="61"/>
              </a:cxn>
              <a:cxn ang="0">
                <a:pos x="101" y="81"/>
              </a:cxn>
              <a:cxn ang="0">
                <a:pos x="111" y="95"/>
              </a:cxn>
              <a:cxn ang="0">
                <a:pos x="103" y="105"/>
              </a:cxn>
              <a:cxn ang="0">
                <a:pos x="79" y="115"/>
              </a:cxn>
              <a:cxn ang="0">
                <a:pos x="14" y="179"/>
              </a:cxn>
              <a:cxn ang="0">
                <a:pos x="14" y="181"/>
              </a:cxn>
              <a:cxn ang="0">
                <a:pos x="15" y="185"/>
              </a:cxn>
              <a:cxn ang="0">
                <a:pos x="11" y="186"/>
              </a:cxn>
              <a:cxn ang="0">
                <a:pos x="8" y="190"/>
              </a:cxn>
              <a:cxn ang="0">
                <a:pos x="9" y="196"/>
              </a:cxn>
              <a:cxn ang="0">
                <a:pos x="8" y="198"/>
              </a:cxn>
              <a:cxn ang="0">
                <a:pos x="6" y="202"/>
              </a:cxn>
              <a:cxn ang="0">
                <a:pos x="1" y="210"/>
              </a:cxn>
              <a:cxn ang="0">
                <a:pos x="4" y="223"/>
              </a:cxn>
            </a:cxnLst>
            <a:rect l="0" t="0" r="r" b="b"/>
            <a:pathLst>
              <a:path w="304" h="240">
                <a:moveTo>
                  <a:pt x="4" y="223"/>
                </a:moveTo>
                <a:cubicBezTo>
                  <a:pt x="4" y="230"/>
                  <a:pt x="8" y="236"/>
                  <a:pt x="8" y="236"/>
                </a:cubicBezTo>
                <a:cubicBezTo>
                  <a:pt x="8" y="237"/>
                  <a:pt x="8" y="238"/>
                  <a:pt x="8" y="240"/>
                </a:cubicBezTo>
                <a:cubicBezTo>
                  <a:pt x="216" y="240"/>
                  <a:pt x="216" y="240"/>
                  <a:pt x="216" y="240"/>
                </a:cubicBezTo>
                <a:cubicBezTo>
                  <a:pt x="220" y="223"/>
                  <a:pt x="224" y="207"/>
                  <a:pt x="225" y="204"/>
                </a:cubicBezTo>
                <a:cubicBezTo>
                  <a:pt x="227" y="206"/>
                  <a:pt x="236" y="213"/>
                  <a:pt x="237" y="215"/>
                </a:cubicBezTo>
                <a:cubicBezTo>
                  <a:pt x="238" y="217"/>
                  <a:pt x="240" y="218"/>
                  <a:pt x="242" y="218"/>
                </a:cubicBezTo>
                <a:cubicBezTo>
                  <a:pt x="242" y="218"/>
                  <a:pt x="243" y="218"/>
                  <a:pt x="243" y="218"/>
                </a:cubicBezTo>
                <a:cubicBezTo>
                  <a:pt x="243" y="218"/>
                  <a:pt x="243" y="218"/>
                  <a:pt x="243" y="218"/>
                </a:cubicBezTo>
                <a:cubicBezTo>
                  <a:pt x="244" y="218"/>
                  <a:pt x="245" y="219"/>
                  <a:pt x="246" y="219"/>
                </a:cubicBezTo>
                <a:cubicBezTo>
                  <a:pt x="247" y="220"/>
                  <a:pt x="248" y="221"/>
                  <a:pt x="250" y="221"/>
                </a:cubicBezTo>
                <a:cubicBezTo>
                  <a:pt x="252" y="222"/>
                  <a:pt x="253" y="221"/>
                  <a:pt x="253" y="220"/>
                </a:cubicBezTo>
                <a:cubicBezTo>
                  <a:pt x="254" y="221"/>
                  <a:pt x="255" y="223"/>
                  <a:pt x="255" y="223"/>
                </a:cubicBezTo>
                <a:cubicBezTo>
                  <a:pt x="254" y="224"/>
                  <a:pt x="252" y="228"/>
                  <a:pt x="251" y="231"/>
                </a:cubicBezTo>
                <a:cubicBezTo>
                  <a:pt x="250" y="233"/>
                  <a:pt x="249" y="235"/>
                  <a:pt x="249" y="237"/>
                </a:cubicBezTo>
                <a:cubicBezTo>
                  <a:pt x="249" y="238"/>
                  <a:pt x="248" y="239"/>
                  <a:pt x="248" y="240"/>
                </a:cubicBezTo>
                <a:cubicBezTo>
                  <a:pt x="296" y="240"/>
                  <a:pt x="296" y="240"/>
                  <a:pt x="296" y="240"/>
                </a:cubicBezTo>
                <a:cubicBezTo>
                  <a:pt x="299" y="234"/>
                  <a:pt x="301" y="226"/>
                  <a:pt x="303" y="219"/>
                </a:cubicBezTo>
                <a:cubicBezTo>
                  <a:pt x="303" y="217"/>
                  <a:pt x="303" y="216"/>
                  <a:pt x="303" y="214"/>
                </a:cubicBezTo>
                <a:cubicBezTo>
                  <a:pt x="304" y="213"/>
                  <a:pt x="304" y="212"/>
                  <a:pt x="304" y="211"/>
                </a:cubicBezTo>
                <a:cubicBezTo>
                  <a:pt x="304" y="211"/>
                  <a:pt x="304" y="211"/>
                  <a:pt x="304" y="211"/>
                </a:cubicBezTo>
                <a:cubicBezTo>
                  <a:pt x="304" y="206"/>
                  <a:pt x="301" y="202"/>
                  <a:pt x="299" y="201"/>
                </a:cubicBezTo>
                <a:cubicBezTo>
                  <a:pt x="301" y="201"/>
                  <a:pt x="303" y="200"/>
                  <a:pt x="297" y="194"/>
                </a:cubicBezTo>
                <a:cubicBezTo>
                  <a:pt x="294" y="191"/>
                  <a:pt x="292" y="187"/>
                  <a:pt x="290" y="183"/>
                </a:cubicBezTo>
                <a:cubicBezTo>
                  <a:pt x="287" y="178"/>
                  <a:pt x="283" y="173"/>
                  <a:pt x="278" y="170"/>
                </a:cubicBezTo>
                <a:cubicBezTo>
                  <a:pt x="274" y="167"/>
                  <a:pt x="267" y="159"/>
                  <a:pt x="259" y="151"/>
                </a:cubicBezTo>
                <a:cubicBezTo>
                  <a:pt x="250" y="142"/>
                  <a:pt x="241" y="133"/>
                  <a:pt x="236" y="129"/>
                </a:cubicBezTo>
                <a:cubicBezTo>
                  <a:pt x="236" y="129"/>
                  <a:pt x="236" y="129"/>
                  <a:pt x="236" y="129"/>
                </a:cubicBezTo>
                <a:cubicBezTo>
                  <a:pt x="230" y="126"/>
                  <a:pt x="219" y="124"/>
                  <a:pt x="210" y="122"/>
                </a:cubicBezTo>
                <a:cubicBezTo>
                  <a:pt x="204" y="120"/>
                  <a:pt x="199" y="119"/>
                  <a:pt x="197" y="118"/>
                </a:cubicBezTo>
                <a:cubicBezTo>
                  <a:pt x="197" y="118"/>
                  <a:pt x="197" y="118"/>
                  <a:pt x="197" y="118"/>
                </a:cubicBezTo>
                <a:cubicBezTo>
                  <a:pt x="195" y="117"/>
                  <a:pt x="192" y="117"/>
                  <a:pt x="190" y="117"/>
                </a:cubicBezTo>
                <a:cubicBezTo>
                  <a:pt x="189" y="117"/>
                  <a:pt x="188" y="117"/>
                  <a:pt x="187" y="116"/>
                </a:cubicBezTo>
                <a:cubicBezTo>
                  <a:pt x="186" y="114"/>
                  <a:pt x="182" y="115"/>
                  <a:pt x="182" y="116"/>
                </a:cubicBezTo>
                <a:cubicBezTo>
                  <a:pt x="181" y="115"/>
                  <a:pt x="178" y="113"/>
                  <a:pt x="175" y="111"/>
                </a:cubicBezTo>
                <a:cubicBezTo>
                  <a:pt x="173" y="109"/>
                  <a:pt x="171" y="107"/>
                  <a:pt x="170" y="105"/>
                </a:cubicBezTo>
                <a:cubicBezTo>
                  <a:pt x="170" y="104"/>
                  <a:pt x="169" y="104"/>
                  <a:pt x="169" y="104"/>
                </a:cubicBezTo>
                <a:cubicBezTo>
                  <a:pt x="169" y="103"/>
                  <a:pt x="169" y="103"/>
                  <a:pt x="169" y="103"/>
                </a:cubicBezTo>
                <a:cubicBezTo>
                  <a:pt x="169" y="102"/>
                  <a:pt x="169" y="102"/>
                  <a:pt x="169" y="102"/>
                </a:cubicBezTo>
                <a:cubicBezTo>
                  <a:pt x="168" y="103"/>
                  <a:pt x="168" y="103"/>
                  <a:pt x="168" y="103"/>
                </a:cubicBezTo>
                <a:cubicBezTo>
                  <a:pt x="168" y="103"/>
                  <a:pt x="168" y="102"/>
                  <a:pt x="168" y="102"/>
                </a:cubicBezTo>
                <a:cubicBezTo>
                  <a:pt x="168" y="102"/>
                  <a:pt x="168" y="99"/>
                  <a:pt x="169" y="96"/>
                </a:cubicBezTo>
                <a:cubicBezTo>
                  <a:pt x="170" y="93"/>
                  <a:pt x="171" y="88"/>
                  <a:pt x="171" y="88"/>
                </a:cubicBezTo>
                <a:cubicBezTo>
                  <a:pt x="171" y="88"/>
                  <a:pt x="174" y="89"/>
                  <a:pt x="176" y="88"/>
                </a:cubicBezTo>
                <a:cubicBezTo>
                  <a:pt x="177" y="87"/>
                  <a:pt x="180" y="82"/>
                  <a:pt x="182" y="73"/>
                </a:cubicBezTo>
                <a:cubicBezTo>
                  <a:pt x="183" y="63"/>
                  <a:pt x="180" y="63"/>
                  <a:pt x="180" y="63"/>
                </a:cubicBezTo>
                <a:cubicBezTo>
                  <a:pt x="180" y="63"/>
                  <a:pt x="184" y="54"/>
                  <a:pt x="181" y="35"/>
                </a:cubicBezTo>
                <a:cubicBezTo>
                  <a:pt x="175" y="1"/>
                  <a:pt x="111" y="0"/>
                  <a:pt x="101" y="32"/>
                </a:cubicBezTo>
                <a:cubicBezTo>
                  <a:pt x="99" y="41"/>
                  <a:pt x="103" y="61"/>
                  <a:pt x="103" y="61"/>
                </a:cubicBezTo>
                <a:cubicBezTo>
                  <a:pt x="103" y="61"/>
                  <a:pt x="103" y="61"/>
                  <a:pt x="103" y="61"/>
                </a:cubicBezTo>
                <a:cubicBezTo>
                  <a:pt x="103" y="61"/>
                  <a:pt x="103" y="61"/>
                  <a:pt x="103" y="61"/>
                </a:cubicBezTo>
                <a:cubicBezTo>
                  <a:pt x="103" y="61"/>
                  <a:pt x="103" y="61"/>
                  <a:pt x="102" y="61"/>
                </a:cubicBezTo>
                <a:cubicBezTo>
                  <a:pt x="102" y="61"/>
                  <a:pt x="101" y="61"/>
                  <a:pt x="100" y="62"/>
                </a:cubicBezTo>
                <a:cubicBezTo>
                  <a:pt x="96" y="65"/>
                  <a:pt x="100" y="72"/>
                  <a:pt x="101" y="81"/>
                </a:cubicBezTo>
                <a:cubicBezTo>
                  <a:pt x="103" y="89"/>
                  <a:pt x="110" y="89"/>
                  <a:pt x="110" y="89"/>
                </a:cubicBezTo>
                <a:cubicBezTo>
                  <a:pt x="110" y="89"/>
                  <a:pt x="109" y="90"/>
                  <a:pt x="111" y="95"/>
                </a:cubicBezTo>
                <a:cubicBezTo>
                  <a:pt x="113" y="101"/>
                  <a:pt x="115" y="103"/>
                  <a:pt x="115" y="103"/>
                </a:cubicBezTo>
                <a:cubicBezTo>
                  <a:pt x="115" y="103"/>
                  <a:pt x="108" y="105"/>
                  <a:pt x="103" y="105"/>
                </a:cubicBezTo>
                <a:cubicBezTo>
                  <a:pt x="98" y="104"/>
                  <a:pt x="95" y="106"/>
                  <a:pt x="91" y="110"/>
                </a:cubicBezTo>
                <a:cubicBezTo>
                  <a:pt x="87" y="113"/>
                  <a:pt x="82" y="114"/>
                  <a:pt x="79" y="115"/>
                </a:cubicBezTo>
                <a:cubicBezTo>
                  <a:pt x="77" y="115"/>
                  <a:pt x="15" y="149"/>
                  <a:pt x="11" y="156"/>
                </a:cubicBezTo>
                <a:cubicBezTo>
                  <a:pt x="9" y="161"/>
                  <a:pt x="12" y="172"/>
                  <a:pt x="14" y="179"/>
                </a:cubicBezTo>
                <a:cubicBezTo>
                  <a:pt x="13" y="177"/>
                  <a:pt x="13" y="177"/>
                  <a:pt x="13" y="177"/>
                </a:cubicBezTo>
                <a:cubicBezTo>
                  <a:pt x="14" y="181"/>
                  <a:pt x="14" y="181"/>
                  <a:pt x="14" y="181"/>
                </a:cubicBezTo>
                <a:cubicBezTo>
                  <a:pt x="14" y="181"/>
                  <a:pt x="14" y="181"/>
                  <a:pt x="14" y="181"/>
                </a:cubicBezTo>
                <a:cubicBezTo>
                  <a:pt x="15" y="183"/>
                  <a:pt x="15" y="185"/>
                  <a:pt x="15" y="185"/>
                </a:cubicBezTo>
                <a:cubicBezTo>
                  <a:pt x="15" y="185"/>
                  <a:pt x="15" y="186"/>
                  <a:pt x="14" y="186"/>
                </a:cubicBezTo>
                <a:cubicBezTo>
                  <a:pt x="13" y="186"/>
                  <a:pt x="13" y="186"/>
                  <a:pt x="11" y="186"/>
                </a:cubicBezTo>
                <a:cubicBezTo>
                  <a:pt x="10" y="186"/>
                  <a:pt x="9" y="187"/>
                  <a:pt x="9" y="187"/>
                </a:cubicBezTo>
                <a:cubicBezTo>
                  <a:pt x="8" y="188"/>
                  <a:pt x="8" y="189"/>
                  <a:pt x="8" y="190"/>
                </a:cubicBezTo>
                <a:cubicBezTo>
                  <a:pt x="8" y="191"/>
                  <a:pt x="8" y="191"/>
                  <a:pt x="9" y="192"/>
                </a:cubicBezTo>
                <a:cubicBezTo>
                  <a:pt x="9" y="194"/>
                  <a:pt x="9" y="195"/>
                  <a:pt x="9" y="196"/>
                </a:cubicBezTo>
                <a:cubicBezTo>
                  <a:pt x="9" y="196"/>
                  <a:pt x="9" y="196"/>
                  <a:pt x="9" y="196"/>
                </a:cubicBezTo>
                <a:cubicBezTo>
                  <a:pt x="9" y="196"/>
                  <a:pt x="8" y="197"/>
                  <a:pt x="8" y="198"/>
                </a:cubicBezTo>
                <a:cubicBezTo>
                  <a:pt x="7" y="199"/>
                  <a:pt x="7" y="201"/>
                  <a:pt x="6" y="202"/>
                </a:cubicBezTo>
                <a:cubicBezTo>
                  <a:pt x="6" y="202"/>
                  <a:pt x="6" y="202"/>
                  <a:pt x="6" y="202"/>
                </a:cubicBezTo>
                <a:cubicBezTo>
                  <a:pt x="6" y="203"/>
                  <a:pt x="5" y="203"/>
                  <a:pt x="5" y="204"/>
                </a:cubicBezTo>
                <a:cubicBezTo>
                  <a:pt x="4" y="205"/>
                  <a:pt x="2" y="207"/>
                  <a:pt x="1" y="210"/>
                </a:cubicBezTo>
                <a:cubicBezTo>
                  <a:pt x="0" y="212"/>
                  <a:pt x="1" y="214"/>
                  <a:pt x="2" y="215"/>
                </a:cubicBezTo>
                <a:cubicBezTo>
                  <a:pt x="3" y="217"/>
                  <a:pt x="4" y="219"/>
                  <a:pt x="4" y="223"/>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26"/>
          <p:cNvSpPr>
            <a:spLocks noEditPoints="1"/>
          </p:cNvSpPr>
          <p:nvPr userDrawn="1"/>
        </p:nvSpPr>
        <p:spPr bwMode="auto">
          <a:xfrm>
            <a:off x="7141990" y="5208502"/>
            <a:ext cx="1127768" cy="1654934"/>
          </a:xfrm>
          <a:custGeom>
            <a:avLst/>
            <a:gdLst/>
            <a:ahLst/>
            <a:cxnLst>
              <a:cxn ang="0">
                <a:pos x="15" y="297"/>
              </a:cxn>
              <a:cxn ang="0">
                <a:pos x="36" y="321"/>
              </a:cxn>
              <a:cxn ang="0">
                <a:pos x="61" y="340"/>
              </a:cxn>
              <a:cxn ang="0">
                <a:pos x="81" y="361"/>
              </a:cxn>
              <a:cxn ang="0">
                <a:pos x="100" y="377"/>
              </a:cxn>
              <a:cxn ang="0">
                <a:pos x="122" y="385"/>
              </a:cxn>
              <a:cxn ang="0">
                <a:pos x="190" y="526"/>
              </a:cxn>
              <a:cxn ang="0">
                <a:pos x="291" y="434"/>
              </a:cxn>
              <a:cxn ang="0">
                <a:pos x="291" y="383"/>
              </a:cxn>
              <a:cxn ang="0">
                <a:pos x="324" y="359"/>
              </a:cxn>
              <a:cxn ang="0">
                <a:pos x="329" y="332"/>
              </a:cxn>
              <a:cxn ang="0">
                <a:pos x="353" y="295"/>
              </a:cxn>
              <a:cxn ang="0">
                <a:pos x="362" y="257"/>
              </a:cxn>
              <a:cxn ang="0">
                <a:pos x="357" y="241"/>
              </a:cxn>
              <a:cxn ang="0">
                <a:pos x="354" y="234"/>
              </a:cxn>
              <a:cxn ang="0">
                <a:pos x="355" y="227"/>
              </a:cxn>
              <a:cxn ang="0">
                <a:pos x="347" y="222"/>
              </a:cxn>
              <a:cxn ang="0">
                <a:pos x="348" y="216"/>
              </a:cxn>
              <a:cxn ang="0">
                <a:pos x="351" y="187"/>
              </a:cxn>
              <a:cxn ang="0">
                <a:pos x="240" y="125"/>
              </a:cxn>
              <a:cxn ang="0">
                <a:pos x="233" y="105"/>
              </a:cxn>
              <a:cxn ang="0">
                <a:pos x="241" y="72"/>
              </a:cxn>
              <a:cxn ang="0">
                <a:pos x="241" y="72"/>
              </a:cxn>
              <a:cxn ang="0">
                <a:pos x="149" y="74"/>
              </a:cxn>
              <a:cxn ang="0">
                <a:pos x="159" y="104"/>
              </a:cxn>
              <a:cxn ang="0">
                <a:pos x="162" y="122"/>
              </a:cxn>
              <a:cxn ang="0">
                <a:pos x="161" y="123"/>
              </a:cxn>
              <a:cxn ang="0">
                <a:pos x="147" y="138"/>
              </a:cxn>
              <a:cxn ang="0">
                <a:pos x="128" y="141"/>
              </a:cxn>
              <a:cxn ang="0">
                <a:pos x="82" y="154"/>
              </a:cxn>
              <a:cxn ang="0">
                <a:pos x="17" y="219"/>
              </a:cxn>
              <a:cxn ang="0">
                <a:pos x="0" y="252"/>
              </a:cxn>
              <a:cxn ang="0">
                <a:pos x="2" y="261"/>
              </a:cxn>
              <a:cxn ang="0">
                <a:pos x="69" y="262"/>
              </a:cxn>
              <a:cxn ang="0">
                <a:pos x="74" y="260"/>
              </a:cxn>
              <a:cxn ang="0">
                <a:pos x="116" y="332"/>
              </a:cxn>
              <a:cxn ang="0">
                <a:pos x="116" y="332"/>
              </a:cxn>
              <a:cxn ang="0">
                <a:pos x="116" y="332"/>
              </a:cxn>
              <a:cxn ang="0">
                <a:pos x="116" y="333"/>
              </a:cxn>
              <a:cxn ang="0">
                <a:pos x="116" y="333"/>
              </a:cxn>
              <a:cxn ang="0">
                <a:pos x="114" y="333"/>
              </a:cxn>
              <a:cxn ang="0">
                <a:pos x="110" y="332"/>
              </a:cxn>
              <a:cxn ang="0">
                <a:pos x="109" y="331"/>
              </a:cxn>
              <a:cxn ang="0">
                <a:pos x="108" y="330"/>
              </a:cxn>
              <a:cxn ang="0">
                <a:pos x="107" y="329"/>
              </a:cxn>
              <a:cxn ang="0">
                <a:pos x="105" y="327"/>
              </a:cxn>
              <a:cxn ang="0">
                <a:pos x="96" y="318"/>
              </a:cxn>
              <a:cxn ang="0">
                <a:pos x="87" y="311"/>
              </a:cxn>
              <a:cxn ang="0">
                <a:pos x="81" y="301"/>
              </a:cxn>
              <a:cxn ang="0">
                <a:pos x="72" y="291"/>
              </a:cxn>
              <a:cxn ang="0">
                <a:pos x="64" y="277"/>
              </a:cxn>
            </a:cxnLst>
            <a:rect l="0" t="0" r="r" b="b"/>
            <a:pathLst>
              <a:path w="364" h="534">
                <a:moveTo>
                  <a:pt x="2" y="261"/>
                </a:moveTo>
                <a:cubicBezTo>
                  <a:pt x="3" y="271"/>
                  <a:pt x="7" y="284"/>
                  <a:pt x="11" y="290"/>
                </a:cubicBezTo>
                <a:cubicBezTo>
                  <a:pt x="12" y="292"/>
                  <a:pt x="14" y="295"/>
                  <a:pt x="15" y="297"/>
                </a:cubicBezTo>
                <a:cubicBezTo>
                  <a:pt x="17" y="302"/>
                  <a:pt x="20" y="307"/>
                  <a:pt x="27" y="313"/>
                </a:cubicBezTo>
                <a:cubicBezTo>
                  <a:pt x="27" y="313"/>
                  <a:pt x="27" y="313"/>
                  <a:pt x="27" y="313"/>
                </a:cubicBezTo>
                <a:cubicBezTo>
                  <a:pt x="30" y="315"/>
                  <a:pt x="33" y="318"/>
                  <a:pt x="36" y="321"/>
                </a:cubicBezTo>
                <a:cubicBezTo>
                  <a:pt x="44" y="328"/>
                  <a:pt x="53" y="336"/>
                  <a:pt x="56" y="337"/>
                </a:cubicBezTo>
                <a:cubicBezTo>
                  <a:pt x="57" y="337"/>
                  <a:pt x="57" y="337"/>
                  <a:pt x="58" y="338"/>
                </a:cubicBezTo>
                <a:cubicBezTo>
                  <a:pt x="59" y="339"/>
                  <a:pt x="60" y="339"/>
                  <a:pt x="61" y="340"/>
                </a:cubicBezTo>
                <a:cubicBezTo>
                  <a:pt x="67" y="346"/>
                  <a:pt x="75" y="355"/>
                  <a:pt x="77" y="358"/>
                </a:cubicBezTo>
                <a:cubicBezTo>
                  <a:pt x="78" y="359"/>
                  <a:pt x="78" y="360"/>
                  <a:pt x="79" y="360"/>
                </a:cubicBezTo>
                <a:cubicBezTo>
                  <a:pt x="80" y="361"/>
                  <a:pt x="80" y="361"/>
                  <a:pt x="81" y="361"/>
                </a:cubicBezTo>
                <a:cubicBezTo>
                  <a:pt x="81" y="361"/>
                  <a:pt x="81" y="361"/>
                  <a:pt x="81" y="361"/>
                </a:cubicBezTo>
                <a:cubicBezTo>
                  <a:pt x="83" y="362"/>
                  <a:pt x="85" y="365"/>
                  <a:pt x="88" y="367"/>
                </a:cubicBezTo>
                <a:cubicBezTo>
                  <a:pt x="92" y="369"/>
                  <a:pt x="96" y="372"/>
                  <a:pt x="100" y="377"/>
                </a:cubicBezTo>
                <a:cubicBezTo>
                  <a:pt x="104" y="382"/>
                  <a:pt x="110" y="387"/>
                  <a:pt x="113" y="387"/>
                </a:cubicBezTo>
                <a:cubicBezTo>
                  <a:pt x="117" y="387"/>
                  <a:pt x="118" y="383"/>
                  <a:pt x="118" y="383"/>
                </a:cubicBezTo>
                <a:cubicBezTo>
                  <a:pt x="119" y="384"/>
                  <a:pt x="121" y="384"/>
                  <a:pt x="122" y="385"/>
                </a:cubicBezTo>
                <a:cubicBezTo>
                  <a:pt x="114" y="435"/>
                  <a:pt x="106" y="484"/>
                  <a:pt x="98" y="534"/>
                </a:cubicBezTo>
                <a:cubicBezTo>
                  <a:pt x="186" y="534"/>
                  <a:pt x="186" y="534"/>
                  <a:pt x="186" y="534"/>
                </a:cubicBezTo>
                <a:cubicBezTo>
                  <a:pt x="188" y="530"/>
                  <a:pt x="189" y="528"/>
                  <a:pt x="190" y="526"/>
                </a:cubicBezTo>
                <a:cubicBezTo>
                  <a:pt x="190" y="529"/>
                  <a:pt x="190" y="531"/>
                  <a:pt x="190" y="534"/>
                </a:cubicBezTo>
                <a:cubicBezTo>
                  <a:pt x="275" y="534"/>
                  <a:pt x="275" y="534"/>
                  <a:pt x="275" y="534"/>
                </a:cubicBezTo>
                <a:cubicBezTo>
                  <a:pt x="285" y="485"/>
                  <a:pt x="292" y="446"/>
                  <a:pt x="291" y="434"/>
                </a:cubicBezTo>
                <a:cubicBezTo>
                  <a:pt x="289" y="397"/>
                  <a:pt x="278" y="379"/>
                  <a:pt x="278" y="379"/>
                </a:cubicBezTo>
                <a:cubicBezTo>
                  <a:pt x="278" y="379"/>
                  <a:pt x="281" y="380"/>
                  <a:pt x="284" y="379"/>
                </a:cubicBezTo>
                <a:cubicBezTo>
                  <a:pt x="286" y="378"/>
                  <a:pt x="286" y="383"/>
                  <a:pt x="291" y="383"/>
                </a:cubicBezTo>
                <a:cubicBezTo>
                  <a:pt x="296" y="383"/>
                  <a:pt x="302" y="379"/>
                  <a:pt x="305" y="374"/>
                </a:cubicBezTo>
                <a:cubicBezTo>
                  <a:pt x="308" y="370"/>
                  <a:pt x="317" y="357"/>
                  <a:pt x="317" y="357"/>
                </a:cubicBezTo>
                <a:cubicBezTo>
                  <a:pt x="317" y="357"/>
                  <a:pt x="322" y="361"/>
                  <a:pt x="324" y="359"/>
                </a:cubicBezTo>
                <a:cubicBezTo>
                  <a:pt x="327" y="357"/>
                  <a:pt x="327" y="353"/>
                  <a:pt x="328" y="345"/>
                </a:cubicBezTo>
                <a:cubicBezTo>
                  <a:pt x="329" y="338"/>
                  <a:pt x="329" y="333"/>
                  <a:pt x="329" y="332"/>
                </a:cubicBezTo>
                <a:cubicBezTo>
                  <a:pt x="329" y="332"/>
                  <a:pt x="329" y="332"/>
                  <a:pt x="329" y="332"/>
                </a:cubicBezTo>
                <a:cubicBezTo>
                  <a:pt x="329" y="332"/>
                  <a:pt x="334" y="328"/>
                  <a:pt x="334" y="324"/>
                </a:cubicBezTo>
                <a:cubicBezTo>
                  <a:pt x="335" y="320"/>
                  <a:pt x="335" y="319"/>
                  <a:pt x="335" y="319"/>
                </a:cubicBezTo>
                <a:cubicBezTo>
                  <a:pt x="336" y="317"/>
                  <a:pt x="350" y="301"/>
                  <a:pt x="353" y="295"/>
                </a:cubicBezTo>
                <a:cubicBezTo>
                  <a:pt x="356" y="289"/>
                  <a:pt x="355" y="284"/>
                  <a:pt x="354" y="283"/>
                </a:cubicBezTo>
                <a:cubicBezTo>
                  <a:pt x="355" y="282"/>
                  <a:pt x="359" y="275"/>
                  <a:pt x="359" y="266"/>
                </a:cubicBezTo>
                <a:cubicBezTo>
                  <a:pt x="359" y="262"/>
                  <a:pt x="361" y="259"/>
                  <a:pt x="362" y="257"/>
                </a:cubicBezTo>
                <a:cubicBezTo>
                  <a:pt x="363" y="255"/>
                  <a:pt x="364" y="254"/>
                  <a:pt x="363" y="251"/>
                </a:cubicBezTo>
                <a:cubicBezTo>
                  <a:pt x="361" y="248"/>
                  <a:pt x="360" y="245"/>
                  <a:pt x="359" y="244"/>
                </a:cubicBezTo>
                <a:cubicBezTo>
                  <a:pt x="358" y="243"/>
                  <a:pt x="357" y="242"/>
                  <a:pt x="357" y="241"/>
                </a:cubicBezTo>
                <a:cubicBezTo>
                  <a:pt x="357" y="241"/>
                  <a:pt x="357" y="241"/>
                  <a:pt x="357" y="241"/>
                </a:cubicBezTo>
                <a:cubicBezTo>
                  <a:pt x="356" y="240"/>
                  <a:pt x="355" y="238"/>
                  <a:pt x="355" y="236"/>
                </a:cubicBezTo>
                <a:cubicBezTo>
                  <a:pt x="354" y="235"/>
                  <a:pt x="354" y="234"/>
                  <a:pt x="354" y="234"/>
                </a:cubicBezTo>
                <a:cubicBezTo>
                  <a:pt x="354" y="234"/>
                  <a:pt x="354" y="234"/>
                  <a:pt x="354" y="234"/>
                </a:cubicBezTo>
                <a:cubicBezTo>
                  <a:pt x="353" y="233"/>
                  <a:pt x="354" y="231"/>
                  <a:pt x="354" y="230"/>
                </a:cubicBezTo>
                <a:cubicBezTo>
                  <a:pt x="354" y="229"/>
                  <a:pt x="355" y="228"/>
                  <a:pt x="355" y="227"/>
                </a:cubicBezTo>
                <a:cubicBezTo>
                  <a:pt x="354" y="226"/>
                  <a:pt x="354" y="225"/>
                  <a:pt x="354" y="224"/>
                </a:cubicBezTo>
                <a:cubicBezTo>
                  <a:pt x="353" y="223"/>
                  <a:pt x="352" y="222"/>
                  <a:pt x="351" y="222"/>
                </a:cubicBezTo>
                <a:cubicBezTo>
                  <a:pt x="349" y="222"/>
                  <a:pt x="348" y="222"/>
                  <a:pt x="347" y="222"/>
                </a:cubicBezTo>
                <a:cubicBezTo>
                  <a:pt x="347" y="222"/>
                  <a:pt x="346" y="221"/>
                  <a:pt x="346" y="221"/>
                </a:cubicBezTo>
                <a:cubicBezTo>
                  <a:pt x="346" y="220"/>
                  <a:pt x="347" y="219"/>
                  <a:pt x="347" y="216"/>
                </a:cubicBezTo>
                <a:cubicBezTo>
                  <a:pt x="348" y="216"/>
                  <a:pt x="348" y="216"/>
                  <a:pt x="348" y="216"/>
                </a:cubicBezTo>
                <a:cubicBezTo>
                  <a:pt x="349" y="211"/>
                  <a:pt x="349" y="211"/>
                  <a:pt x="349" y="211"/>
                </a:cubicBezTo>
                <a:cubicBezTo>
                  <a:pt x="348" y="213"/>
                  <a:pt x="348" y="213"/>
                  <a:pt x="348" y="213"/>
                </a:cubicBezTo>
                <a:cubicBezTo>
                  <a:pt x="350" y="205"/>
                  <a:pt x="353" y="193"/>
                  <a:pt x="351" y="187"/>
                </a:cubicBezTo>
                <a:cubicBezTo>
                  <a:pt x="347" y="178"/>
                  <a:pt x="271" y="137"/>
                  <a:pt x="269" y="137"/>
                </a:cubicBezTo>
                <a:cubicBezTo>
                  <a:pt x="267" y="136"/>
                  <a:pt x="260" y="134"/>
                  <a:pt x="255" y="130"/>
                </a:cubicBezTo>
                <a:cubicBezTo>
                  <a:pt x="250" y="127"/>
                  <a:pt x="247" y="124"/>
                  <a:pt x="240" y="125"/>
                </a:cubicBezTo>
                <a:cubicBezTo>
                  <a:pt x="234" y="125"/>
                  <a:pt x="227" y="123"/>
                  <a:pt x="227" y="123"/>
                </a:cubicBezTo>
                <a:cubicBezTo>
                  <a:pt x="227" y="123"/>
                  <a:pt x="229" y="120"/>
                  <a:pt x="232" y="114"/>
                </a:cubicBezTo>
                <a:cubicBezTo>
                  <a:pt x="234" y="107"/>
                  <a:pt x="233" y="105"/>
                  <a:pt x="233" y="105"/>
                </a:cubicBezTo>
                <a:cubicBezTo>
                  <a:pt x="233" y="105"/>
                  <a:pt x="241" y="106"/>
                  <a:pt x="243" y="96"/>
                </a:cubicBezTo>
                <a:cubicBezTo>
                  <a:pt x="245" y="86"/>
                  <a:pt x="249" y="77"/>
                  <a:pt x="245" y="74"/>
                </a:cubicBezTo>
                <a:cubicBezTo>
                  <a:pt x="243" y="72"/>
                  <a:pt x="242" y="72"/>
                  <a:pt x="241" y="72"/>
                </a:cubicBezTo>
                <a:cubicBezTo>
                  <a:pt x="241" y="72"/>
                  <a:pt x="241" y="72"/>
                  <a:pt x="241" y="72"/>
                </a:cubicBezTo>
                <a:cubicBezTo>
                  <a:pt x="241" y="72"/>
                  <a:pt x="241" y="72"/>
                  <a:pt x="241" y="72"/>
                </a:cubicBezTo>
                <a:cubicBezTo>
                  <a:pt x="241" y="72"/>
                  <a:pt x="241" y="72"/>
                  <a:pt x="241" y="72"/>
                </a:cubicBezTo>
                <a:cubicBezTo>
                  <a:pt x="241" y="72"/>
                  <a:pt x="246" y="48"/>
                  <a:pt x="243" y="38"/>
                </a:cubicBezTo>
                <a:cubicBezTo>
                  <a:pt x="231" y="0"/>
                  <a:pt x="155" y="0"/>
                  <a:pt x="148" y="41"/>
                </a:cubicBezTo>
                <a:cubicBezTo>
                  <a:pt x="144" y="63"/>
                  <a:pt x="149" y="74"/>
                  <a:pt x="149" y="74"/>
                </a:cubicBezTo>
                <a:cubicBezTo>
                  <a:pt x="149" y="74"/>
                  <a:pt x="145" y="75"/>
                  <a:pt x="147" y="86"/>
                </a:cubicBezTo>
                <a:cubicBezTo>
                  <a:pt x="148" y="98"/>
                  <a:pt x="152" y="103"/>
                  <a:pt x="154" y="105"/>
                </a:cubicBezTo>
                <a:cubicBezTo>
                  <a:pt x="155" y="106"/>
                  <a:pt x="159" y="104"/>
                  <a:pt x="159" y="104"/>
                </a:cubicBezTo>
                <a:cubicBezTo>
                  <a:pt x="159" y="104"/>
                  <a:pt x="160" y="111"/>
                  <a:pt x="161" y="115"/>
                </a:cubicBezTo>
                <a:cubicBezTo>
                  <a:pt x="163" y="118"/>
                  <a:pt x="162" y="122"/>
                  <a:pt x="162" y="122"/>
                </a:cubicBezTo>
                <a:cubicBezTo>
                  <a:pt x="162" y="122"/>
                  <a:pt x="162" y="122"/>
                  <a:pt x="162" y="122"/>
                </a:cubicBezTo>
                <a:cubicBezTo>
                  <a:pt x="162" y="122"/>
                  <a:pt x="162" y="122"/>
                  <a:pt x="162" y="122"/>
                </a:cubicBezTo>
                <a:cubicBezTo>
                  <a:pt x="162" y="122"/>
                  <a:pt x="162" y="122"/>
                  <a:pt x="162" y="122"/>
                </a:cubicBezTo>
                <a:cubicBezTo>
                  <a:pt x="162" y="123"/>
                  <a:pt x="162" y="123"/>
                  <a:pt x="161" y="123"/>
                </a:cubicBezTo>
                <a:cubicBezTo>
                  <a:pt x="161" y="124"/>
                  <a:pt x="161" y="124"/>
                  <a:pt x="161" y="125"/>
                </a:cubicBezTo>
                <a:cubicBezTo>
                  <a:pt x="160" y="127"/>
                  <a:pt x="157" y="130"/>
                  <a:pt x="155" y="132"/>
                </a:cubicBezTo>
                <a:cubicBezTo>
                  <a:pt x="151" y="135"/>
                  <a:pt x="147" y="137"/>
                  <a:pt x="147" y="138"/>
                </a:cubicBezTo>
                <a:cubicBezTo>
                  <a:pt x="146" y="138"/>
                  <a:pt x="142" y="136"/>
                  <a:pt x="140" y="139"/>
                </a:cubicBezTo>
                <a:cubicBezTo>
                  <a:pt x="139" y="139"/>
                  <a:pt x="138" y="139"/>
                  <a:pt x="136" y="139"/>
                </a:cubicBezTo>
                <a:cubicBezTo>
                  <a:pt x="134" y="139"/>
                  <a:pt x="131" y="139"/>
                  <a:pt x="128" y="141"/>
                </a:cubicBezTo>
                <a:cubicBezTo>
                  <a:pt x="126" y="142"/>
                  <a:pt x="120" y="143"/>
                  <a:pt x="113" y="145"/>
                </a:cubicBezTo>
                <a:cubicBezTo>
                  <a:pt x="102" y="147"/>
                  <a:pt x="88" y="150"/>
                  <a:pt x="82" y="154"/>
                </a:cubicBezTo>
                <a:cubicBezTo>
                  <a:pt x="82" y="154"/>
                  <a:pt x="82" y="154"/>
                  <a:pt x="82" y="154"/>
                </a:cubicBezTo>
                <a:cubicBezTo>
                  <a:pt x="76" y="158"/>
                  <a:pt x="65" y="169"/>
                  <a:pt x="54" y="180"/>
                </a:cubicBezTo>
                <a:cubicBezTo>
                  <a:pt x="44" y="190"/>
                  <a:pt x="35" y="199"/>
                  <a:pt x="31" y="202"/>
                </a:cubicBezTo>
                <a:cubicBezTo>
                  <a:pt x="25" y="207"/>
                  <a:pt x="21" y="213"/>
                  <a:pt x="17" y="219"/>
                </a:cubicBezTo>
                <a:cubicBezTo>
                  <a:pt x="14" y="223"/>
                  <a:pt x="11" y="228"/>
                  <a:pt x="8" y="231"/>
                </a:cubicBezTo>
                <a:cubicBezTo>
                  <a:pt x="1" y="239"/>
                  <a:pt x="4" y="240"/>
                  <a:pt x="6" y="240"/>
                </a:cubicBezTo>
                <a:cubicBezTo>
                  <a:pt x="4" y="241"/>
                  <a:pt x="0" y="246"/>
                  <a:pt x="0" y="252"/>
                </a:cubicBezTo>
                <a:cubicBezTo>
                  <a:pt x="0" y="252"/>
                  <a:pt x="0" y="252"/>
                  <a:pt x="0" y="252"/>
                </a:cubicBezTo>
                <a:cubicBezTo>
                  <a:pt x="0" y="253"/>
                  <a:pt x="0" y="255"/>
                  <a:pt x="1" y="256"/>
                </a:cubicBezTo>
                <a:cubicBezTo>
                  <a:pt x="1" y="258"/>
                  <a:pt x="1" y="259"/>
                  <a:pt x="2" y="261"/>
                </a:cubicBezTo>
                <a:close/>
                <a:moveTo>
                  <a:pt x="60" y="263"/>
                </a:moveTo>
                <a:cubicBezTo>
                  <a:pt x="61" y="264"/>
                  <a:pt x="62" y="265"/>
                  <a:pt x="65" y="264"/>
                </a:cubicBezTo>
                <a:cubicBezTo>
                  <a:pt x="67" y="264"/>
                  <a:pt x="68" y="263"/>
                  <a:pt x="69" y="262"/>
                </a:cubicBezTo>
                <a:cubicBezTo>
                  <a:pt x="70" y="261"/>
                  <a:pt x="71" y="261"/>
                  <a:pt x="73" y="260"/>
                </a:cubicBezTo>
                <a:cubicBezTo>
                  <a:pt x="73" y="260"/>
                  <a:pt x="73" y="260"/>
                  <a:pt x="73" y="260"/>
                </a:cubicBezTo>
                <a:cubicBezTo>
                  <a:pt x="73" y="260"/>
                  <a:pt x="74" y="260"/>
                  <a:pt x="74" y="260"/>
                </a:cubicBezTo>
                <a:cubicBezTo>
                  <a:pt x="77" y="260"/>
                  <a:pt x="79" y="260"/>
                  <a:pt x="80" y="257"/>
                </a:cubicBezTo>
                <a:cubicBezTo>
                  <a:pt x="82" y="255"/>
                  <a:pt x="92" y="246"/>
                  <a:pt x="95" y="244"/>
                </a:cubicBezTo>
                <a:cubicBezTo>
                  <a:pt x="96" y="251"/>
                  <a:pt x="115" y="330"/>
                  <a:pt x="116" y="332"/>
                </a:cubicBezTo>
                <a:cubicBezTo>
                  <a:pt x="116" y="332"/>
                  <a:pt x="116" y="332"/>
                  <a:pt x="116" y="332"/>
                </a:cubicBezTo>
                <a:cubicBezTo>
                  <a:pt x="116" y="332"/>
                  <a:pt x="116" y="332"/>
                  <a:pt x="116" y="332"/>
                </a:cubicBezTo>
                <a:cubicBezTo>
                  <a:pt x="116" y="332"/>
                  <a:pt x="116" y="332"/>
                  <a:pt x="116" y="332"/>
                </a:cubicBezTo>
                <a:cubicBezTo>
                  <a:pt x="116" y="332"/>
                  <a:pt x="116" y="332"/>
                  <a:pt x="116" y="332"/>
                </a:cubicBezTo>
                <a:cubicBezTo>
                  <a:pt x="116" y="332"/>
                  <a:pt x="116" y="332"/>
                  <a:pt x="116" y="332"/>
                </a:cubicBezTo>
                <a:cubicBezTo>
                  <a:pt x="116" y="332"/>
                  <a:pt x="116" y="332"/>
                  <a:pt x="116" y="332"/>
                </a:cubicBezTo>
                <a:cubicBezTo>
                  <a:pt x="116" y="332"/>
                  <a:pt x="117" y="332"/>
                  <a:pt x="116" y="333"/>
                </a:cubicBezTo>
                <a:cubicBezTo>
                  <a:pt x="116" y="333"/>
                  <a:pt x="116" y="333"/>
                  <a:pt x="116" y="333"/>
                </a:cubicBezTo>
                <a:cubicBezTo>
                  <a:pt x="116" y="333"/>
                  <a:pt x="116" y="333"/>
                  <a:pt x="116" y="333"/>
                </a:cubicBezTo>
                <a:cubicBezTo>
                  <a:pt x="116" y="333"/>
                  <a:pt x="116" y="333"/>
                  <a:pt x="116" y="333"/>
                </a:cubicBezTo>
                <a:cubicBezTo>
                  <a:pt x="116" y="333"/>
                  <a:pt x="116" y="333"/>
                  <a:pt x="116" y="333"/>
                </a:cubicBezTo>
                <a:cubicBezTo>
                  <a:pt x="116" y="333"/>
                  <a:pt x="116" y="333"/>
                  <a:pt x="116" y="333"/>
                </a:cubicBezTo>
                <a:cubicBezTo>
                  <a:pt x="115" y="333"/>
                  <a:pt x="115" y="333"/>
                  <a:pt x="115" y="333"/>
                </a:cubicBezTo>
                <a:cubicBezTo>
                  <a:pt x="115" y="333"/>
                  <a:pt x="115" y="333"/>
                  <a:pt x="114" y="333"/>
                </a:cubicBezTo>
                <a:cubicBezTo>
                  <a:pt x="114" y="333"/>
                  <a:pt x="114" y="333"/>
                  <a:pt x="114" y="333"/>
                </a:cubicBezTo>
                <a:cubicBezTo>
                  <a:pt x="113" y="333"/>
                  <a:pt x="113" y="332"/>
                  <a:pt x="112" y="332"/>
                </a:cubicBezTo>
                <a:cubicBezTo>
                  <a:pt x="112" y="332"/>
                  <a:pt x="112" y="332"/>
                  <a:pt x="112" y="332"/>
                </a:cubicBezTo>
                <a:cubicBezTo>
                  <a:pt x="111" y="332"/>
                  <a:pt x="111" y="332"/>
                  <a:pt x="110" y="332"/>
                </a:cubicBezTo>
                <a:cubicBezTo>
                  <a:pt x="110" y="332"/>
                  <a:pt x="110" y="332"/>
                  <a:pt x="110" y="332"/>
                </a:cubicBezTo>
                <a:cubicBezTo>
                  <a:pt x="110" y="332"/>
                  <a:pt x="110" y="331"/>
                  <a:pt x="109" y="331"/>
                </a:cubicBezTo>
                <a:cubicBezTo>
                  <a:pt x="109" y="331"/>
                  <a:pt x="109" y="331"/>
                  <a:pt x="109" y="331"/>
                </a:cubicBezTo>
                <a:cubicBezTo>
                  <a:pt x="109" y="331"/>
                  <a:pt x="109" y="331"/>
                  <a:pt x="109" y="331"/>
                </a:cubicBezTo>
                <a:cubicBezTo>
                  <a:pt x="109" y="331"/>
                  <a:pt x="108" y="331"/>
                  <a:pt x="108" y="330"/>
                </a:cubicBezTo>
                <a:cubicBezTo>
                  <a:pt x="108" y="330"/>
                  <a:pt x="108" y="330"/>
                  <a:pt x="108" y="330"/>
                </a:cubicBezTo>
                <a:cubicBezTo>
                  <a:pt x="107" y="330"/>
                  <a:pt x="107" y="329"/>
                  <a:pt x="107" y="329"/>
                </a:cubicBezTo>
                <a:cubicBezTo>
                  <a:pt x="107" y="329"/>
                  <a:pt x="107" y="329"/>
                  <a:pt x="107" y="329"/>
                </a:cubicBezTo>
                <a:cubicBezTo>
                  <a:pt x="107" y="329"/>
                  <a:pt x="107" y="329"/>
                  <a:pt x="107" y="329"/>
                </a:cubicBezTo>
                <a:cubicBezTo>
                  <a:pt x="107" y="329"/>
                  <a:pt x="107" y="329"/>
                  <a:pt x="107" y="329"/>
                </a:cubicBezTo>
                <a:cubicBezTo>
                  <a:pt x="106" y="328"/>
                  <a:pt x="106" y="328"/>
                  <a:pt x="106" y="328"/>
                </a:cubicBezTo>
                <a:cubicBezTo>
                  <a:pt x="105" y="327"/>
                  <a:pt x="105" y="327"/>
                  <a:pt x="105" y="327"/>
                </a:cubicBezTo>
                <a:cubicBezTo>
                  <a:pt x="103" y="325"/>
                  <a:pt x="101" y="323"/>
                  <a:pt x="100" y="321"/>
                </a:cubicBezTo>
                <a:cubicBezTo>
                  <a:pt x="99" y="321"/>
                  <a:pt x="99" y="320"/>
                  <a:pt x="98" y="320"/>
                </a:cubicBezTo>
                <a:cubicBezTo>
                  <a:pt x="98" y="319"/>
                  <a:pt x="97" y="319"/>
                  <a:pt x="96" y="318"/>
                </a:cubicBezTo>
                <a:cubicBezTo>
                  <a:pt x="93" y="315"/>
                  <a:pt x="88" y="312"/>
                  <a:pt x="87" y="311"/>
                </a:cubicBezTo>
                <a:cubicBezTo>
                  <a:pt x="87" y="311"/>
                  <a:pt x="87" y="311"/>
                  <a:pt x="87" y="311"/>
                </a:cubicBezTo>
                <a:cubicBezTo>
                  <a:pt x="87" y="311"/>
                  <a:pt x="87" y="311"/>
                  <a:pt x="87" y="311"/>
                </a:cubicBezTo>
                <a:cubicBezTo>
                  <a:pt x="86" y="311"/>
                  <a:pt x="86" y="311"/>
                  <a:pt x="86" y="311"/>
                </a:cubicBezTo>
                <a:cubicBezTo>
                  <a:pt x="85" y="310"/>
                  <a:pt x="85" y="310"/>
                  <a:pt x="85" y="309"/>
                </a:cubicBezTo>
                <a:cubicBezTo>
                  <a:pt x="83" y="307"/>
                  <a:pt x="82" y="304"/>
                  <a:pt x="81" y="301"/>
                </a:cubicBezTo>
                <a:cubicBezTo>
                  <a:pt x="81" y="300"/>
                  <a:pt x="80" y="299"/>
                  <a:pt x="80" y="299"/>
                </a:cubicBezTo>
                <a:cubicBezTo>
                  <a:pt x="80" y="296"/>
                  <a:pt x="80" y="295"/>
                  <a:pt x="77" y="293"/>
                </a:cubicBezTo>
                <a:cubicBezTo>
                  <a:pt x="75" y="292"/>
                  <a:pt x="73" y="291"/>
                  <a:pt x="72" y="291"/>
                </a:cubicBezTo>
                <a:cubicBezTo>
                  <a:pt x="70" y="290"/>
                  <a:pt x="69" y="289"/>
                  <a:pt x="68" y="288"/>
                </a:cubicBezTo>
                <a:cubicBezTo>
                  <a:pt x="67" y="287"/>
                  <a:pt x="66" y="285"/>
                  <a:pt x="66" y="283"/>
                </a:cubicBezTo>
                <a:cubicBezTo>
                  <a:pt x="65" y="281"/>
                  <a:pt x="65" y="279"/>
                  <a:pt x="64" y="277"/>
                </a:cubicBezTo>
                <a:cubicBezTo>
                  <a:pt x="62" y="272"/>
                  <a:pt x="59" y="268"/>
                  <a:pt x="59" y="267"/>
                </a:cubicBezTo>
                <a:cubicBezTo>
                  <a:pt x="59" y="266"/>
                  <a:pt x="60" y="264"/>
                  <a:pt x="60" y="263"/>
                </a:cubicBezTo>
                <a:close/>
              </a:path>
            </a:pathLst>
          </a:custGeom>
          <a:solidFill>
            <a:srgbClr val="F5F5F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27"/>
          <p:cNvSpPr>
            <a:spLocks noEditPoints="1"/>
          </p:cNvSpPr>
          <p:nvPr userDrawn="1"/>
        </p:nvSpPr>
        <p:spPr bwMode="auto">
          <a:xfrm>
            <a:off x="7899622" y="5208502"/>
            <a:ext cx="1130391" cy="1654934"/>
          </a:xfrm>
          <a:custGeom>
            <a:avLst/>
            <a:gdLst/>
            <a:ahLst/>
            <a:cxnLst>
              <a:cxn ang="0">
                <a:pos x="15" y="297"/>
              </a:cxn>
              <a:cxn ang="0">
                <a:pos x="37" y="321"/>
              </a:cxn>
              <a:cxn ang="0">
                <a:pos x="59" y="338"/>
              </a:cxn>
              <a:cxn ang="0">
                <a:pos x="80" y="360"/>
              </a:cxn>
              <a:cxn ang="0">
                <a:pos x="88" y="367"/>
              </a:cxn>
              <a:cxn ang="0">
                <a:pos x="119" y="383"/>
              </a:cxn>
              <a:cxn ang="0">
                <a:pos x="187" y="534"/>
              </a:cxn>
              <a:cxn ang="0">
                <a:pos x="276" y="534"/>
              </a:cxn>
              <a:cxn ang="0">
                <a:pos x="284" y="379"/>
              </a:cxn>
              <a:cxn ang="0">
                <a:pos x="317" y="357"/>
              </a:cxn>
              <a:cxn ang="0">
                <a:pos x="329" y="332"/>
              </a:cxn>
              <a:cxn ang="0">
                <a:pos x="336" y="319"/>
              </a:cxn>
              <a:cxn ang="0">
                <a:pos x="360" y="266"/>
              </a:cxn>
              <a:cxn ang="0">
                <a:pos x="359" y="244"/>
              </a:cxn>
              <a:cxn ang="0">
                <a:pos x="355" y="236"/>
              </a:cxn>
              <a:cxn ang="0">
                <a:pos x="355" y="230"/>
              </a:cxn>
              <a:cxn ang="0">
                <a:pos x="351" y="222"/>
              </a:cxn>
              <a:cxn ang="0">
                <a:pos x="348" y="216"/>
              </a:cxn>
              <a:cxn ang="0">
                <a:pos x="348" y="213"/>
              </a:cxn>
              <a:cxn ang="0">
                <a:pos x="256" y="130"/>
              </a:cxn>
              <a:cxn ang="0">
                <a:pos x="232" y="114"/>
              </a:cxn>
              <a:cxn ang="0">
                <a:pos x="246" y="74"/>
              </a:cxn>
              <a:cxn ang="0">
                <a:pos x="242" y="72"/>
              </a:cxn>
              <a:cxn ang="0">
                <a:pos x="148" y="41"/>
              </a:cxn>
              <a:cxn ang="0">
                <a:pos x="154" y="105"/>
              </a:cxn>
              <a:cxn ang="0">
                <a:pos x="163" y="122"/>
              </a:cxn>
              <a:cxn ang="0">
                <a:pos x="163" y="122"/>
              </a:cxn>
              <a:cxn ang="0">
                <a:pos x="156" y="132"/>
              </a:cxn>
              <a:cxn ang="0">
                <a:pos x="137" y="139"/>
              </a:cxn>
              <a:cxn ang="0">
                <a:pos x="113" y="145"/>
              </a:cxn>
              <a:cxn ang="0">
                <a:pos x="55" y="180"/>
              </a:cxn>
              <a:cxn ang="0">
                <a:pos x="8" y="231"/>
              </a:cxn>
              <a:cxn ang="0">
                <a:pos x="1" y="252"/>
              </a:cxn>
              <a:cxn ang="0">
                <a:pos x="61" y="263"/>
              </a:cxn>
              <a:cxn ang="0">
                <a:pos x="73" y="260"/>
              </a:cxn>
              <a:cxn ang="0">
                <a:pos x="81" y="257"/>
              </a:cxn>
              <a:cxn ang="0">
                <a:pos x="117" y="332"/>
              </a:cxn>
              <a:cxn ang="0">
                <a:pos x="117" y="332"/>
              </a:cxn>
              <a:cxn ang="0">
                <a:pos x="117" y="333"/>
              </a:cxn>
              <a:cxn ang="0">
                <a:pos x="117" y="333"/>
              </a:cxn>
              <a:cxn ang="0">
                <a:pos x="116" y="333"/>
              </a:cxn>
              <a:cxn ang="0">
                <a:pos x="112" y="332"/>
              </a:cxn>
              <a:cxn ang="0">
                <a:pos x="111" y="332"/>
              </a:cxn>
              <a:cxn ang="0">
                <a:pos x="109" y="331"/>
              </a:cxn>
              <a:cxn ang="0">
                <a:pos x="107" y="329"/>
              </a:cxn>
              <a:cxn ang="0">
                <a:pos x="107" y="329"/>
              </a:cxn>
              <a:cxn ang="0">
                <a:pos x="100" y="321"/>
              </a:cxn>
              <a:cxn ang="0">
                <a:pos x="87" y="311"/>
              </a:cxn>
              <a:cxn ang="0">
                <a:pos x="86" y="311"/>
              </a:cxn>
              <a:cxn ang="0">
                <a:pos x="81" y="299"/>
              </a:cxn>
              <a:cxn ang="0">
                <a:pos x="68" y="288"/>
              </a:cxn>
              <a:cxn ang="0">
                <a:pos x="59" y="267"/>
              </a:cxn>
            </a:cxnLst>
            <a:rect l="0" t="0" r="r" b="b"/>
            <a:pathLst>
              <a:path w="365" h="534">
                <a:moveTo>
                  <a:pt x="2" y="261"/>
                </a:moveTo>
                <a:cubicBezTo>
                  <a:pt x="4" y="271"/>
                  <a:pt x="8" y="284"/>
                  <a:pt x="11" y="290"/>
                </a:cubicBezTo>
                <a:cubicBezTo>
                  <a:pt x="13" y="292"/>
                  <a:pt x="14" y="295"/>
                  <a:pt x="15" y="297"/>
                </a:cubicBezTo>
                <a:cubicBezTo>
                  <a:pt x="18" y="302"/>
                  <a:pt x="20" y="307"/>
                  <a:pt x="27" y="313"/>
                </a:cubicBezTo>
                <a:cubicBezTo>
                  <a:pt x="27" y="313"/>
                  <a:pt x="27" y="313"/>
                  <a:pt x="27" y="313"/>
                </a:cubicBezTo>
                <a:cubicBezTo>
                  <a:pt x="30" y="315"/>
                  <a:pt x="34" y="318"/>
                  <a:pt x="37" y="321"/>
                </a:cubicBezTo>
                <a:cubicBezTo>
                  <a:pt x="45" y="328"/>
                  <a:pt x="53" y="336"/>
                  <a:pt x="57" y="337"/>
                </a:cubicBezTo>
                <a:cubicBezTo>
                  <a:pt x="57" y="337"/>
                  <a:pt x="57" y="337"/>
                  <a:pt x="57" y="337"/>
                </a:cubicBezTo>
                <a:cubicBezTo>
                  <a:pt x="57" y="337"/>
                  <a:pt x="58" y="337"/>
                  <a:pt x="59" y="338"/>
                </a:cubicBezTo>
                <a:cubicBezTo>
                  <a:pt x="60" y="339"/>
                  <a:pt x="61" y="339"/>
                  <a:pt x="62" y="340"/>
                </a:cubicBezTo>
                <a:cubicBezTo>
                  <a:pt x="67" y="346"/>
                  <a:pt x="75" y="355"/>
                  <a:pt x="78" y="358"/>
                </a:cubicBezTo>
                <a:cubicBezTo>
                  <a:pt x="78" y="359"/>
                  <a:pt x="79" y="360"/>
                  <a:pt x="80" y="360"/>
                </a:cubicBezTo>
                <a:cubicBezTo>
                  <a:pt x="80" y="361"/>
                  <a:pt x="81" y="361"/>
                  <a:pt x="82" y="361"/>
                </a:cubicBezTo>
                <a:cubicBezTo>
                  <a:pt x="82" y="361"/>
                  <a:pt x="82" y="361"/>
                  <a:pt x="82" y="361"/>
                </a:cubicBezTo>
                <a:cubicBezTo>
                  <a:pt x="83" y="362"/>
                  <a:pt x="86" y="365"/>
                  <a:pt x="88" y="367"/>
                </a:cubicBezTo>
                <a:cubicBezTo>
                  <a:pt x="92" y="369"/>
                  <a:pt x="96" y="372"/>
                  <a:pt x="101" y="377"/>
                </a:cubicBezTo>
                <a:cubicBezTo>
                  <a:pt x="105" y="382"/>
                  <a:pt x="111" y="387"/>
                  <a:pt x="114" y="387"/>
                </a:cubicBezTo>
                <a:cubicBezTo>
                  <a:pt x="117" y="387"/>
                  <a:pt x="119" y="383"/>
                  <a:pt x="119" y="383"/>
                </a:cubicBezTo>
                <a:cubicBezTo>
                  <a:pt x="120" y="384"/>
                  <a:pt x="121" y="384"/>
                  <a:pt x="123" y="385"/>
                </a:cubicBezTo>
                <a:cubicBezTo>
                  <a:pt x="115" y="435"/>
                  <a:pt x="107" y="484"/>
                  <a:pt x="99" y="534"/>
                </a:cubicBezTo>
                <a:cubicBezTo>
                  <a:pt x="187" y="534"/>
                  <a:pt x="187" y="534"/>
                  <a:pt x="187" y="534"/>
                </a:cubicBezTo>
                <a:cubicBezTo>
                  <a:pt x="188" y="530"/>
                  <a:pt x="190" y="528"/>
                  <a:pt x="191" y="526"/>
                </a:cubicBezTo>
                <a:cubicBezTo>
                  <a:pt x="191" y="529"/>
                  <a:pt x="191" y="531"/>
                  <a:pt x="191" y="534"/>
                </a:cubicBezTo>
                <a:cubicBezTo>
                  <a:pt x="276" y="534"/>
                  <a:pt x="276" y="534"/>
                  <a:pt x="276" y="534"/>
                </a:cubicBezTo>
                <a:cubicBezTo>
                  <a:pt x="286" y="485"/>
                  <a:pt x="292" y="446"/>
                  <a:pt x="292" y="434"/>
                </a:cubicBezTo>
                <a:cubicBezTo>
                  <a:pt x="289" y="397"/>
                  <a:pt x="279" y="379"/>
                  <a:pt x="279" y="379"/>
                </a:cubicBezTo>
                <a:cubicBezTo>
                  <a:pt x="279" y="379"/>
                  <a:pt x="282" y="380"/>
                  <a:pt x="284" y="379"/>
                </a:cubicBezTo>
                <a:cubicBezTo>
                  <a:pt x="286" y="378"/>
                  <a:pt x="287" y="383"/>
                  <a:pt x="292" y="383"/>
                </a:cubicBezTo>
                <a:cubicBezTo>
                  <a:pt x="296" y="383"/>
                  <a:pt x="303" y="379"/>
                  <a:pt x="306" y="374"/>
                </a:cubicBezTo>
                <a:cubicBezTo>
                  <a:pt x="309" y="370"/>
                  <a:pt x="317" y="357"/>
                  <a:pt x="317" y="357"/>
                </a:cubicBezTo>
                <a:cubicBezTo>
                  <a:pt x="317" y="357"/>
                  <a:pt x="323" y="361"/>
                  <a:pt x="325" y="359"/>
                </a:cubicBezTo>
                <a:cubicBezTo>
                  <a:pt x="327" y="357"/>
                  <a:pt x="328" y="353"/>
                  <a:pt x="329" y="345"/>
                </a:cubicBezTo>
                <a:cubicBezTo>
                  <a:pt x="329" y="338"/>
                  <a:pt x="329" y="333"/>
                  <a:pt x="329" y="332"/>
                </a:cubicBezTo>
                <a:cubicBezTo>
                  <a:pt x="329" y="332"/>
                  <a:pt x="329" y="332"/>
                  <a:pt x="329" y="332"/>
                </a:cubicBezTo>
                <a:cubicBezTo>
                  <a:pt x="329" y="332"/>
                  <a:pt x="334" y="328"/>
                  <a:pt x="335" y="324"/>
                </a:cubicBezTo>
                <a:cubicBezTo>
                  <a:pt x="336" y="320"/>
                  <a:pt x="336" y="319"/>
                  <a:pt x="336" y="319"/>
                </a:cubicBezTo>
                <a:cubicBezTo>
                  <a:pt x="337" y="317"/>
                  <a:pt x="351" y="301"/>
                  <a:pt x="354" y="295"/>
                </a:cubicBezTo>
                <a:cubicBezTo>
                  <a:pt x="357" y="289"/>
                  <a:pt x="355" y="284"/>
                  <a:pt x="355" y="283"/>
                </a:cubicBezTo>
                <a:cubicBezTo>
                  <a:pt x="356" y="282"/>
                  <a:pt x="360" y="275"/>
                  <a:pt x="360" y="266"/>
                </a:cubicBezTo>
                <a:cubicBezTo>
                  <a:pt x="360" y="262"/>
                  <a:pt x="361" y="259"/>
                  <a:pt x="362" y="257"/>
                </a:cubicBezTo>
                <a:cubicBezTo>
                  <a:pt x="364" y="255"/>
                  <a:pt x="365" y="254"/>
                  <a:pt x="363" y="251"/>
                </a:cubicBezTo>
                <a:cubicBezTo>
                  <a:pt x="362" y="248"/>
                  <a:pt x="360" y="245"/>
                  <a:pt x="359" y="244"/>
                </a:cubicBezTo>
                <a:cubicBezTo>
                  <a:pt x="359" y="243"/>
                  <a:pt x="358" y="242"/>
                  <a:pt x="358" y="241"/>
                </a:cubicBezTo>
                <a:cubicBezTo>
                  <a:pt x="358" y="241"/>
                  <a:pt x="358" y="241"/>
                  <a:pt x="358" y="241"/>
                </a:cubicBezTo>
                <a:cubicBezTo>
                  <a:pt x="357" y="240"/>
                  <a:pt x="356" y="238"/>
                  <a:pt x="355" y="236"/>
                </a:cubicBezTo>
                <a:cubicBezTo>
                  <a:pt x="355" y="235"/>
                  <a:pt x="355" y="234"/>
                  <a:pt x="354" y="234"/>
                </a:cubicBezTo>
                <a:cubicBezTo>
                  <a:pt x="354" y="234"/>
                  <a:pt x="354" y="234"/>
                  <a:pt x="354" y="234"/>
                </a:cubicBezTo>
                <a:cubicBezTo>
                  <a:pt x="354" y="233"/>
                  <a:pt x="354" y="231"/>
                  <a:pt x="355" y="230"/>
                </a:cubicBezTo>
                <a:cubicBezTo>
                  <a:pt x="355" y="229"/>
                  <a:pt x="355" y="228"/>
                  <a:pt x="355" y="227"/>
                </a:cubicBezTo>
                <a:cubicBezTo>
                  <a:pt x="355" y="226"/>
                  <a:pt x="355" y="225"/>
                  <a:pt x="354" y="224"/>
                </a:cubicBezTo>
                <a:cubicBezTo>
                  <a:pt x="354" y="223"/>
                  <a:pt x="353" y="222"/>
                  <a:pt x="351" y="222"/>
                </a:cubicBezTo>
                <a:cubicBezTo>
                  <a:pt x="350" y="222"/>
                  <a:pt x="349" y="222"/>
                  <a:pt x="348" y="222"/>
                </a:cubicBezTo>
                <a:cubicBezTo>
                  <a:pt x="347" y="222"/>
                  <a:pt x="347" y="221"/>
                  <a:pt x="347" y="221"/>
                </a:cubicBezTo>
                <a:cubicBezTo>
                  <a:pt x="347" y="220"/>
                  <a:pt x="347" y="219"/>
                  <a:pt x="348" y="216"/>
                </a:cubicBezTo>
                <a:cubicBezTo>
                  <a:pt x="348" y="216"/>
                  <a:pt x="348" y="216"/>
                  <a:pt x="348" y="216"/>
                </a:cubicBezTo>
                <a:cubicBezTo>
                  <a:pt x="349" y="211"/>
                  <a:pt x="349" y="211"/>
                  <a:pt x="349" y="211"/>
                </a:cubicBezTo>
                <a:cubicBezTo>
                  <a:pt x="348" y="213"/>
                  <a:pt x="348" y="213"/>
                  <a:pt x="348" y="213"/>
                </a:cubicBezTo>
                <a:cubicBezTo>
                  <a:pt x="351" y="205"/>
                  <a:pt x="354" y="193"/>
                  <a:pt x="351" y="187"/>
                </a:cubicBezTo>
                <a:cubicBezTo>
                  <a:pt x="347" y="178"/>
                  <a:pt x="272" y="137"/>
                  <a:pt x="270" y="137"/>
                </a:cubicBezTo>
                <a:cubicBezTo>
                  <a:pt x="267" y="136"/>
                  <a:pt x="261" y="134"/>
                  <a:pt x="256" y="130"/>
                </a:cubicBezTo>
                <a:cubicBezTo>
                  <a:pt x="251" y="127"/>
                  <a:pt x="247" y="124"/>
                  <a:pt x="241" y="125"/>
                </a:cubicBezTo>
                <a:cubicBezTo>
                  <a:pt x="235" y="125"/>
                  <a:pt x="228" y="123"/>
                  <a:pt x="228" y="123"/>
                </a:cubicBezTo>
                <a:cubicBezTo>
                  <a:pt x="228" y="123"/>
                  <a:pt x="230" y="120"/>
                  <a:pt x="232" y="114"/>
                </a:cubicBezTo>
                <a:cubicBezTo>
                  <a:pt x="235" y="107"/>
                  <a:pt x="234" y="105"/>
                  <a:pt x="234" y="105"/>
                </a:cubicBezTo>
                <a:cubicBezTo>
                  <a:pt x="234" y="105"/>
                  <a:pt x="242" y="106"/>
                  <a:pt x="244" y="96"/>
                </a:cubicBezTo>
                <a:cubicBezTo>
                  <a:pt x="245" y="86"/>
                  <a:pt x="249" y="77"/>
                  <a:pt x="246" y="74"/>
                </a:cubicBezTo>
                <a:cubicBezTo>
                  <a:pt x="243" y="72"/>
                  <a:pt x="242" y="72"/>
                  <a:pt x="242" y="72"/>
                </a:cubicBezTo>
                <a:cubicBezTo>
                  <a:pt x="242" y="72"/>
                  <a:pt x="242" y="72"/>
                  <a:pt x="242" y="72"/>
                </a:cubicBezTo>
                <a:cubicBezTo>
                  <a:pt x="242" y="72"/>
                  <a:pt x="242" y="72"/>
                  <a:pt x="242" y="72"/>
                </a:cubicBezTo>
                <a:cubicBezTo>
                  <a:pt x="242" y="72"/>
                  <a:pt x="242" y="72"/>
                  <a:pt x="242" y="72"/>
                </a:cubicBezTo>
                <a:cubicBezTo>
                  <a:pt x="242" y="72"/>
                  <a:pt x="246" y="48"/>
                  <a:pt x="243" y="38"/>
                </a:cubicBezTo>
                <a:cubicBezTo>
                  <a:pt x="232" y="0"/>
                  <a:pt x="155" y="0"/>
                  <a:pt x="148" y="41"/>
                </a:cubicBezTo>
                <a:cubicBezTo>
                  <a:pt x="144" y="63"/>
                  <a:pt x="149" y="74"/>
                  <a:pt x="149" y="74"/>
                </a:cubicBezTo>
                <a:cubicBezTo>
                  <a:pt x="149" y="74"/>
                  <a:pt x="145" y="75"/>
                  <a:pt x="147" y="86"/>
                </a:cubicBezTo>
                <a:cubicBezTo>
                  <a:pt x="149" y="98"/>
                  <a:pt x="153" y="103"/>
                  <a:pt x="154" y="105"/>
                </a:cubicBezTo>
                <a:cubicBezTo>
                  <a:pt x="156" y="106"/>
                  <a:pt x="160" y="104"/>
                  <a:pt x="160" y="104"/>
                </a:cubicBezTo>
                <a:cubicBezTo>
                  <a:pt x="160" y="104"/>
                  <a:pt x="161" y="111"/>
                  <a:pt x="162" y="115"/>
                </a:cubicBezTo>
                <a:cubicBezTo>
                  <a:pt x="163" y="118"/>
                  <a:pt x="163" y="122"/>
                  <a:pt x="163" y="122"/>
                </a:cubicBezTo>
                <a:cubicBezTo>
                  <a:pt x="163" y="122"/>
                  <a:pt x="163" y="122"/>
                  <a:pt x="163" y="122"/>
                </a:cubicBezTo>
                <a:cubicBezTo>
                  <a:pt x="163" y="122"/>
                  <a:pt x="163" y="122"/>
                  <a:pt x="163" y="122"/>
                </a:cubicBezTo>
                <a:cubicBezTo>
                  <a:pt x="163" y="122"/>
                  <a:pt x="163" y="122"/>
                  <a:pt x="163" y="122"/>
                </a:cubicBezTo>
                <a:cubicBezTo>
                  <a:pt x="162" y="123"/>
                  <a:pt x="162" y="123"/>
                  <a:pt x="162" y="123"/>
                </a:cubicBezTo>
                <a:cubicBezTo>
                  <a:pt x="162" y="124"/>
                  <a:pt x="162" y="124"/>
                  <a:pt x="161" y="125"/>
                </a:cubicBezTo>
                <a:cubicBezTo>
                  <a:pt x="160" y="127"/>
                  <a:pt x="158" y="130"/>
                  <a:pt x="156" y="132"/>
                </a:cubicBezTo>
                <a:cubicBezTo>
                  <a:pt x="152" y="135"/>
                  <a:pt x="148" y="137"/>
                  <a:pt x="147" y="138"/>
                </a:cubicBezTo>
                <a:cubicBezTo>
                  <a:pt x="146" y="138"/>
                  <a:pt x="142" y="136"/>
                  <a:pt x="141" y="139"/>
                </a:cubicBezTo>
                <a:cubicBezTo>
                  <a:pt x="140" y="139"/>
                  <a:pt x="138" y="139"/>
                  <a:pt x="137" y="139"/>
                </a:cubicBezTo>
                <a:cubicBezTo>
                  <a:pt x="134" y="139"/>
                  <a:pt x="131" y="139"/>
                  <a:pt x="129" y="141"/>
                </a:cubicBezTo>
                <a:cubicBezTo>
                  <a:pt x="129" y="141"/>
                  <a:pt x="129" y="141"/>
                  <a:pt x="129" y="141"/>
                </a:cubicBezTo>
                <a:cubicBezTo>
                  <a:pt x="127" y="142"/>
                  <a:pt x="121" y="143"/>
                  <a:pt x="113" y="145"/>
                </a:cubicBezTo>
                <a:cubicBezTo>
                  <a:pt x="102" y="147"/>
                  <a:pt x="89" y="150"/>
                  <a:pt x="82" y="154"/>
                </a:cubicBezTo>
                <a:cubicBezTo>
                  <a:pt x="82" y="154"/>
                  <a:pt x="82" y="154"/>
                  <a:pt x="82" y="154"/>
                </a:cubicBezTo>
                <a:cubicBezTo>
                  <a:pt x="77" y="158"/>
                  <a:pt x="65" y="169"/>
                  <a:pt x="55" y="180"/>
                </a:cubicBezTo>
                <a:cubicBezTo>
                  <a:pt x="45" y="190"/>
                  <a:pt x="36" y="199"/>
                  <a:pt x="31" y="202"/>
                </a:cubicBezTo>
                <a:cubicBezTo>
                  <a:pt x="25" y="207"/>
                  <a:pt x="21" y="213"/>
                  <a:pt x="18" y="219"/>
                </a:cubicBezTo>
                <a:cubicBezTo>
                  <a:pt x="15" y="223"/>
                  <a:pt x="12" y="228"/>
                  <a:pt x="8" y="231"/>
                </a:cubicBezTo>
                <a:cubicBezTo>
                  <a:pt x="1" y="239"/>
                  <a:pt x="4" y="240"/>
                  <a:pt x="6" y="240"/>
                </a:cubicBezTo>
                <a:cubicBezTo>
                  <a:pt x="4" y="241"/>
                  <a:pt x="0" y="246"/>
                  <a:pt x="1" y="252"/>
                </a:cubicBezTo>
                <a:cubicBezTo>
                  <a:pt x="1" y="252"/>
                  <a:pt x="1" y="252"/>
                  <a:pt x="1" y="252"/>
                </a:cubicBezTo>
                <a:cubicBezTo>
                  <a:pt x="1" y="253"/>
                  <a:pt x="1" y="255"/>
                  <a:pt x="1" y="256"/>
                </a:cubicBezTo>
                <a:cubicBezTo>
                  <a:pt x="1" y="258"/>
                  <a:pt x="2" y="259"/>
                  <a:pt x="2" y="261"/>
                </a:cubicBezTo>
                <a:close/>
                <a:moveTo>
                  <a:pt x="61" y="263"/>
                </a:moveTo>
                <a:cubicBezTo>
                  <a:pt x="62" y="264"/>
                  <a:pt x="63" y="265"/>
                  <a:pt x="66" y="264"/>
                </a:cubicBezTo>
                <a:cubicBezTo>
                  <a:pt x="68" y="264"/>
                  <a:pt x="69" y="263"/>
                  <a:pt x="70" y="262"/>
                </a:cubicBezTo>
                <a:cubicBezTo>
                  <a:pt x="71" y="261"/>
                  <a:pt x="72" y="261"/>
                  <a:pt x="73" y="260"/>
                </a:cubicBezTo>
                <a:cubicBezTo>
                  <a:pt x="73" y="260"/>
                  <a:pt x="73" y="260"/>
                  <a:pt x="73" y="260"/>
                </a:cubicBezTo>
                <a:cubicBezTo>
                  <a:pt x="74" y="260"/>
                  <a:pt x="74" y="260"/>
                  <a:pt x="75" y="260"/>
                </a:cubicBezTo>
                <a:cubicBezTo>
                  <a:pt x="77" y="260"/>
                  <a:pt x="80" y="260"/>
                  <a:pt x="81" y="257"/>
                </a:cubicBezTo>
                <a:cubicBezTo>
                  <a:pt x="82" y="255"/>
                  <a:pt x="93" y="246"/>
                  <a:pt x="95" y="244"/>
                </a:cubicBezTo>
                <a:cubicBezTo>
                  <a:pt x="97" y="251"/>
                  <a:pt x="115" y="330"/>
                  <a:pt x="117" y="332"/>
                </a:cubicBezTo>
                <a:cubicBezTo>
                  <a:pt x="117" y="332"/>
                  <a:pt x="117" y="332"/>
                  <a:pt x="117" y="332"/>
                </a:cubicBezTo>
                <a:cubicBezTo>
                  <a:pt x="117" y="332"/>
                  <a:pt x="117" y="332"/>
                  <a:pt x="117" y="332"/>
                </a:cubicBezTo>
                <a:cubicBezTo>
                  <a:pt x="117" y="332"/>
                  <a:pt x="117" y="332"/>
                  <a:pt x="117" y="332"/>
                </a:cubicBezTo>
                <a:cubicBezTo>
                  <a:pt x="117" y="332"/>
                  <a:pt x="117" y="332"/>
                  <a:pt x="117" y="332"/>
                </a:cubicBezTo>
                <a:cubicBezTo>
                  <a:pt x="117" y="332"/>
                  <a:pt x="117" y="332"/>
                  <a:pt x="117" y="332"/>
                </a:cubicBezTo>
                <a:cubicBezTo>
                  <a:pt x="117" y="332"/>
                  <a:pt x="117" y="332"/>
                  <a:pt x="117" y="332"/>
                </a:cubicBezTo>
                <a:cubicBezTo>
                  <a:pt x="117" y="332"/>
                  <a:pt x="117" y="332"/>
                  <a:pt x="117" y="333"/>
                </a:cubicBezTo>
                <a:cubicBezTo>
                  <a:pt x="117" y="333"/>
                  <a:pt x="117" y="333"/>
                  <a:pt x="117" y="333"/>
                </a:cubicBezTo>
                <a:cubicBezTo>
                  <a:pt x="117" y="333"/>
                  <a:pt x="117" y="333"/>
                  <a:pt x="117" y="333"/>
                </a:cubicBezTo>
                <a:cubicBezTo>
                  <a:pt x="117" y="333"/>
                  <a:pt x="117" y="333"/>
                  <a:pt x="117" y="333"/>
                </a:cubicBezTo>
                <a:cubicBezTo>
                  <a:pt x="117" y="333"/>
                  <a:pt x="117" y="333"/>
                  <a:pt x="117" y="333"/>
                </a:cubicBezTo>
                <a:cubicBezTo>
                  <a:pt x="117" y="333"/>
                  <a:pt x="116" y="333"/>
                  <a:pt x="116" y="333"/>
                </a:cubicBezTo>
                <a:cubicBezTo>
                  <a:pt x="116" y="333"/>
                  <a:pt x="116" y="333"/>
                  <a:pt x="116" y="333"/>
                </a:cubicBezTo>
                <a:cubicBezTo>
                  <a:pt x="116" y="333"/>
                  <a:pt x="115" y="333"/>
                  <a:pt x="115" y="333"/>
                </a:cubicBezTo>
                <a:cubicBezTo>
                  <a:pt x="115" y="333"/>
                  <a:pt x="115" y="333"/>
                  <a:pt x="115" y="333"/>
                </a:cubicBezTo>
                <a:cubicBezTo>
                  <a:pt x="114" y="333"/>
                  <a:pt x="113" y="332"/>
                  <a:pt x="112" y="332"/>
                </a:cubicBezTo>
                <a:cubicBezTo>
                  <a:pt x="112" y="332"/>
                  <a:pt x="112" y="332"/>
                  <a:pt x="112" y="332"/>
                </a:cubicBezTo>
                <a:cubicBezTo>
                  <a:pt x="112" y="332"/>
                  <a:pt x="111" y="332"/>
                  <a:pt x="111" y="332"/>
                </a:cubicBezTo>
                <a:cubicBezTo>
                  <a:pt x="111" y="332"/>
                  <a:pt x="111" y="332"/>
                  <a:pt x="111" y="332"/>
                </a:cubicBezTo>
                <a:cubicBezTo>
                  <a:pt x="111" y="332"/>
                  <a:pt x="110" y="331"/>
                  <a:pt x="110" y="331"/>
                </a:cubicBezTo>
                <a:cubicBezTo>
                  <a:pt x="110" y="331"/>
                  <a:pt x="110" y="331"/>
                  <a:pt x="110" y="331"/>
                </a:cubicBezTo>
                <a:cubicBezTo>
                  <a:pt x="110" y="331"/>
                  <a:pt x="109" y="331"/>
                  <a:pt x="109" y="331"/>
                </a:cubicBezTo>
                <a:cubicBezTo>
                  <a:pt x="109" y="331"/>
                  <a:pt x="109" y="331"/>
                  <a:pt x="109" y="330"/>
                </a:cubicBezTo>
                <a:cubicBezTo>
                  <a:pt x="108" y="330"/>
                  <a:pt x="108" y="330"/>
                  <a:pt x="108" y="330"/>
                </a:cubicBezTo>
                <a:cubicBezTo>
                  <a:pt x="108" y="330"/>
                  <a:pt x="108" y="329"/>
                  <a:pt x="107" y="329"/>
                </a:cubicBezTo>
                <a:cubicBezTo>
                  <a:pt x="107" y="329"/>
                  <a:pt x="107" y="329"/>
                  <a:pt x="107" y="329"/>
                </a:cubicBezTo>
                <a:cubicBezTo>
                  <a:pt x="108" y="329"/>
                  <a:pt x="108" y="329"/>
                  <a:pt x="108" y="329"/>
                </a:cubicBezTo>
                <a:cubicBezTo>
                  <a:pt x="107" y="329"/>
                  <a:pt x="107" y="329"/>
                  <a:pt x="107" y="329"/>
                </a:cubicBezTo>
                <a:cubicBezTo>
                  <a:pt x="107" y="328"/>
                  <a:pt x="107" y="328"/>
                  <a:pt x="106" y="328"/>
                </a:cubicBezTo>
                <a:cubicBezTo>
                  <a:pt x="106" y="327"/>
                  <a:pt x="106" y="327"/>
                  <a:pt x="105" y="327"/>
                </a:cubicBezTo>
                <a:cubicBezTo>
                  <a:pt x="104" y="325"/>
                  <a:pt x="102" y="323"/>
                  <a:pt x="100" y="321"/>
                </a:cubicBezTo>
                <a:cubicBezTo>
                  <a:pt x="100" y="321"/>
                  <a:pt x="99" y="320"/>
                  <a:pt x="99" y="320"/>
                </a:cubicBezTo>
                <a:cubicBezTo>
                  <a:pt x="98" y="319"/>
                  <a:pt x="98" y="319"/>
                  <a:pt x="97" y="318"/>
                </a:cubicBezTo>
                <a:cubicBezTo>
                  <a:pt x="93" y="315"/>
                  <a:pt x="89" y="312"/>
                  <a:pt x="87" y="311"/>
                </a:cubicBezTo>
                <a:cubicBezTo>
                  <a:pt x="87" y="311"/>
                  <a:pt x="87" y="311"/>
                  <a:pt x="87" y="311"/>
                </a:cubicBezTo>
                <a:cubicBezTo>
                  <a:pt x="87" y="311"/>
                  <a:pt x="87" y="311"/>
                  <a:pt x="87" y="311"/>
                </a:cubicBezTo>
                <a:cubicBezTo>
                  <a:pt x="87" y="311"/>
                  <a:pt x="87" y="311"/>
                  <a:pt x="86" y="311"/>
                </a:cubicBezTo>
                <a:cubicBezTo>
                  <a:pt x="86" y="310"/>
                  <a:pt x="86" y="310"/>
                  <a:pt x="85" y="309"/>
                </a:cubicBezTo>
                <a:cubicBezTo>
                  <a:pt x="84" y="307"/>
                  <a:pt x="82" y="304"/>
                  <a:pt x="82" y="301"/>
                </a:cubicBezTo>
                <a:cubicBezTo>
                  <a:pt x="81" y="300"/>
                  <a:pt x="81" y="299"/>
                  <a:pt x="81" y="299"/>
                </a:cubicBezTo>
                <a:cubicBezTo>
                  <a:pt x="81" y="296"/>
                  <a:pt x="80" y="295"/>
                  <a:pt x="77" y="293"/>
                </a:cubicBezTo>
                <a:cubicBezTo>
                  <a:pt x="76" y="292"/>
                  <a:pt x="74" y="291"/>
                  <a:pt x="73" y="291"/>
                </a:cubicBezTo>
                <a:cubicBezTo>
                  <a:pt x="71" y="290"/>
                  <a:pt x="69" y="289"/>
                  <a:pt x="68" y="288"/>
                </a:cubicBezTo>
                <a:cubicBezTo>
                  <a:pt x="67" y="287"/>
                  <a:pt x="67" y="285"/>
                  <a:pt x="66" y="283"/>
                </a:cubicBezTo>
                <a:cubicBezTo>
                  <a:pt x="66" y="281"/>
                  <a:pt x="65" y="279"/>
                  <a:pt x="65" y="277"/>
                </a:cubicBezTo>
                <a:cubicBezTo>
                  <a:pt x="63" y="272"/>
                  <a:pt x="60" y="268"/>
                  <a:pt x="59" y="267"/>
                </a:cubicBezTo>
                <a:cubicBezTo>
                  <a:pt x="60" y="266"/>
                  <a:pt x="61" y="264"/>
                  <a:pt x="61" y="263"/>
                </a:cubicBez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8" name="Freeform 27"/>
          <p:cNvSpPr>
            <a:spLocks noEditPoints="1"/>
          </p:cNvSpPr>
          <p:nvPr userDrawn="1"/>
        </p:nvSpPr>
        <p:spPr bwMode="auto">
          <a:xfrm>
            <a:off x="6176498" y="5487821"/>
            <a:ext cx="1357256" cy="1375615"/>
          </a:xfrm>
          <a:custGeom>
            <a:avLst/>
            <a:gdLst/>
            <a:ahLst/>
            <a:cxnLst>
              <a:cxn ang="0">
                <a:pos x="40" y="403"/>
              </a:cxn>
              <a:cxn ang="0">
                <a:pos x="63" y="411"/>
              </a:cxn>
              <a:cxn ang="0">
                <a:pos x="100" y="437"/>
              </a:cxn>
              <a:cxn ang="0">
                <a:pos x="103" y="438"/>
              </a:cxn>
              <a:cxn ang="0">
                <a:pos x="106" y="440"/>
              </a:cxn>
              <a:cxn ang="0">
                <a:pos x="109" y="443"/>
              </a:cxn>
              <a:cxn ang="0">
                <a:pos x="385" y="436"/>
              </a:cxn>
              <a:cxn ang="0">
                <a:pos x="393" y="422"/>
              </a:cxn>
              <a:cxn ang="0">
                <a:pos x="397" y="407"/>
              </a:cxn>
              <a:cxn ang="0">
                <a:pos x="423" y="371"/>
              </a:cxn>
              <a:cxn ang="0">
                <a:pos x="432" y="351"/>
              </a:cxn>
              <a:cxn ang="0">
                <a:pos x="438" y="318"/>
              </a:cxn>
              <a:cxn ang="0">
                <a:pos x="437" y="297"/>
              </a:cxn>
              <a:cxn ang="0">
                <a:pos x="437" y="287"/>
              </a:cxn>
              <a:cxn ang="0">
                <a:pos x="426" y="254"/>
              </a:cxn>
              <a:cxn ang="0">
                <a:pos x="413" y="241"/>
              </a:cxn>
              <a:cxn ang="0">
                <a:pos x="410" y="238"/>
              </a:cxn>
              <a:cxn ang="0">
                <a:pos x="392" y="218"/>
              </a:cxn>
              <a:cxn ang="0">
                <a:pos x="359" y="180"/>
              </a:cxn>
              <a:cxn ang="0">
                <a:pos x="317" y="165"/>
              </a:cxn>
              <a:cxn ang="0">
                <a:pos x="304" y="164"/>
              </a:cxn>
              <a:cxn ang="0">
                <a:pos x="255" y="143"/>
              </a:cxn>
              <a:cxn ang="0">
                <a:pos x="254" y="137"/>
              </a:cxn>
              <a:cxn ang="0">
                <a:pos x="273" y="84"/>
              </a:cxn>
              <a:cxn ang="0">
                <a:pos x="204" y="3"/>
              </a:cxn>
              <a:cxn ang="0">
                <a:pos x="152" y="108"/>
              </a:cxn>
              <a:cxn ang="0">
                <a:pos x="174" y="140"/>
              </a:cxn>
              <a:cxn ang="0">
                <a:pos x="173" y="154"/>
              </a:cxn>
              <a:cxn ang="0">
                <a:pos x="167" y="163"/>
              </a:cxn>
              <a:cxn ang="0">
                <a:pos x="98" y="192"/>
              </a:cxn>
              <a:cxn ang="0">
                <a:pos x="39" y="248"/>
              </a:cxn>
              <a:cxn ang="0">
                <a:pos x="4" y="297"/>
              </a:cxn>
              <a:cxn ang="0">
                <a:pos x="0" y="317"/>
              </a:cxn>
              <a:cxn ang="0">
                <a:pos x="344" y="274"/>
              </a:cxn>
              <a:cxn ang="0">
                <a:pos x="370" y="302"/>
              </a:cxn>
              <a:cxn ang="0">
                <a:pos x="368" y="346"/>
              </a:cxn>
              <a:cxn ang="0">
                <a:pos x="368" y="360"/>
              </a:cxn>
              <a:cxn ang="0">
                <a:pos x="349" y="392"/>
              </a:cxn>
              <a:cxn ang="0">
                <a:pos x="346" y="393"/>
              </a:cxn>
              <a:cxn ang="0">
                <a:pos x="342" y="332"/>
              </a:cxn>
              <a:cxn ang="0">
                <a:pos x="77" y="330"/>
              </a:cxn>
              <a:cxn ang="0">
                <a:pos x="91" y="320"/>
              </a:cxn>
              <a:cxn ang="0">
                <a:pos x="110" y="291"/>
              </a:cxn>
              <a:cxn ang="0">
                <a:pos x="117" y="310"/>
              </a:cxn>
              <a:cxn ang="0">
                <a:pos x="146" y="399"/>
              </a:cxn>
              <a:cxn ang="0">
                <a:pos x="131" y="396"/>
              </a:cxn>
              <a:cxn ang="0">
                <a:pos x="130" y="396"/>
              </a:cxn>
              <a:cxn ang="0">
                <a:pos x="131" y="395"/>
              </a:cxn>
              <a:cxn ang="0">
                <a:pos x="110" y="380"/>
              </a:cxn>
              <a:cxn ang="0">
                <a:pos x="102" y="369"/>
              </a:cxn>
              <a:cxn ang="0">
                <a:pos x="87" y="358"/>
              </a:cxn>
              <a:cxn ang="0">
                <a:pos x="77" y="330"/>
              </a:cxn>
            </a:cxnLst>
            <a:rect l="0" t="0" r="r" b="b"/>
            <a:pathLst>
              <a:path w="438" h="444">
                <a:moveTo>
                  <a:pt x="23" y="380"/>
                </a:moveTo>
                <a:cubicBezTo>
                  <a:pt x="26" y="386"/>
                  <a:pt x="28" y="391"/>
                  <a:pt x="30" y="394"/>
                </a:cubicBezTo>
                <a:cubicBezTo>
                  <a:pt x="33" y="400"/>
                  <a:pt x="34" y="402"/>
                  <a:pt x="40" y="403"/>
                </a:cubicBezTo>
                <a:cubicBezTo>
                  <a:pt x="40" y="403"/>
                  <a:pt x="40" y="403"/>
                  <a:pt x="40" y="403"/>
                </a:cubicBezTo>
                <a:cubicBezTo>
                  <a:pt x="47" y="404"/>
                  <a:pt x="53" y="407"/>
                  <a:pt x="58" y="409"/>
                </a:cubicBezTo>
                <a:cubicBezTo>
                  <a:pt x="60" y="410"/>
                  <a:pt x="62" y="411"/>
                  <a:pt x="63" y="411"/>
                </a:cubicBezTo>
                <a:cubicBezTo>
                  <a:pt x="68" y="413"/>
                  <a:pt x="77" y="420"/>
                  <a:pt x="77" y="420"/>
                </a:cubicBezTo>
                <a:cubicBezTo>
                  <a:pt x="77" y="420"/>
                  <a:pt x="77" y="420"/>
                  <a:pt x="77" y="420"/>
                </a:cubicBezTo>
                <a:cubicBezTo>
                  <a:pt x="100" y="437"/>
                  <a:pt x="100" y="437"/>
                  <a:pt x="100" y="437"/>
                </a:cubicBezTo>
                <a:cubicBezTo>
                  <a:pt x="100" y="437"/>
                  <a:pt x="101" y="438"/>
                  <a:pt x="103" y="439"/>
                </a:cubicBezTo>
                <a:cubicBezTo>
                  <a:pt x="103" y="439"/>
                  <a:pt x="103" y="439"/>
                  <a:pt x="103" y="438"/>
                </a:cubicBezTo>
                <a:cubicBezTo>
                  <a:pt x="103" y="438"/>
                  <a:pt x="103" y="438"/>
                  <a:pt x="103" y="438"/>
                </a:cubicBezTo>
                <a:cubicBezTo>
                  <a:pt x="103" y="438"/>
                  <a:pt x="103" y="439"/>
                  <a:pt x="103" y="439"/>
                </a:cubicBezTo>
                <a:cubicBezTo>
                  <a:pt x="103" y="439"/>
                  <a:pt x="103" y="439"/>
                  <a:pt x="103" y="439"/>
                </a:cubicBezTo>
                <a:cubicBezTo>
                  <a:pt x="104" y="439"/>
                  <a:pt x="105" y="440"/>
                  <a:pt x="106" y="440"/>
                </a:cubicBezTo>
                <a:cubicBezTo>
                  <a:pt x="106" y="440"/>
                  <a:pt x="106" y="441"/>
                  <a:pt x="106" y="441"/>
                </a:cubicBezTo>
                <a:cubicBezTo>
                  <a:pt x="107" y="441"/>
                  <a:pt x="107" y="442"/>
                  <a:pt x="108" y="442"/>
                </a:cubicBezTo>
                <a:cubicBezTo>
                  <a:pt x="108" y="443"/>
                  <a:pt x="109" y="443"/>
                  <a:pt x="109" y="443"/>
                </a:cubicBezTo>
                <a:cubicBezTo>
                  <a:pt x="109" y="443"/>
                  <a:pt x="110" y="444"/>
                  <a:pt x="111" y="444"/>
                </a:cubicBezTo>
                <a:cubicBezTo>
                  <a:pt x="379" y="444"/>
                  <a:pt x="379" y="444"/>
                  <a:pt x="379" y="444"/>
                </a:cubicBezTo>
                <a:cubicBezTo>
                  <a:pt x="381" y="441"/>
                  <a:pt x="383" y="439"/>
                  <a:pt x="385" y="436"/>
                </a:cubicBezTo>
                <a:cubicBezTo>
                  <a:pt x="392" y="429"/>
                  <a:pt x="393" y="421"/>
                  <a:pt x="393" y="421"/>
                </a:cubicBezTo>
                <a:cubicBezTo>
                  <a:pt x="393" y="421"/>
                  <a:pt x="393" y="421"/>
                  <a:pt x="393" y="420"/>
                </a:cubicBezTo>
                <a:cubicBezTo>
                  <a:pt x="393" y="421"/>
                  <a:pt x="393" y="421"/>
                  <a:pt x="393" y="422"/>
                </a:cubicBezTo>
                <a:cubicBezTo>
                  <a:pt x="393" y="421"/>
                  <a:pt x="393" y="421"/>
                  <a:pt x="393" y="421"/>
                </a:cubicBezTo>
                <a:cubicBezTo>
                  <a:pt x="393" y="421"/>
                  <a:pt x="396" y="410"/>
                  <a:pt x="397" y="407"/>
                </a:cubicBezTo>
                <a:cubicBezTo>
                  <a:pt x="397" y="407"/>
                  <a:pt x="397" y="407"/>
                  <a:pt x="397" y="407"/>
                </a:cubicBezTo>
                <a:cubicBezTo>
                  <a:pt x="397" y="404"/>
                  <a:pt x="405" y="394"/>
                  <a:pt x="412" y="386"/>
                </a:cubicBezTo>
                <a:cubicBezTo>
                  <a:pt x="414" y="383"/>
                  <a:pt x="416" y="381"/>
                  <a:pt x="417" y="379"/>
                </a:cubicBezTo>
                <a:cubicBezTo>
                  <a:pt x="420" y="376"/>
                  <a:pt x="421" y="373"/>
                  <a:pt x="423" y="371"/>
                </a:cubicBezTo>
                <a:cubicBezTo>
                  <a:pt x="424" y="368"/>
                  <a:pt x="425" y="365"/>
                  <a:pt x="426" y="362"/>
                </a:cubicBezTo>
                <a:cubicBezTo>
                  <a:pt x="428" y="356"/>
                  <a:pt x="432" y="351"/>
                  <a:pt x="432" y="351"/>
                </a:cubicBezTo>
                <a:cubicBezTo>
                  <a:pt x="432" y="351"/>
                  <a:pt x="432" y="351"/>
                  <a:pt x="432" y="351"/>
                </a:cubicBezTo>
                <a:cubicBezTo>
                  <a:pt x="432" y="351"/>
                  <a:pt x="432" y="351"/>
                  <a:pt x="432" y="351"/>
                </a:cubicBezTo>
                <a:cubicBezTo>
                  <a:pt x="432" y="351"/>
                  <a:pt x="435" y="345"/>
                  <a:pt x="437" y="335"/>
                </a:cubicBezTo>
                <a:cubicBezTo>
                  <a:pt x="438" y="327"/>
                  <a:pt x="438" y="322"/>
                  <a:pt x="438" y="318"/>
                </a:cubicBezTo>
                <a:cubicBezTo>
                  <a:pt x="438" y="317"/>
                  <a:pt x="438" y="316"/>
                  <a:pt x="438" y="314"/>
                </a:cubicBezTo>
                <a:cubicBezTo>
                  <a:pt x="438" y="309"/>
                  <a:pt x="437" y="305"/>
                  <a:pt x="436" y="300"/>
                </a:cubicBezTo>
                <a:cubicBezTo>
                  <a:pt x="436" y="299"/>
                  <a:pt x="436" y="298"/>
                  <a:pt x="437" y="297"/>
                </a:cubicBezTo>
                <a:cubicBezTo>
                  <a:pt x="438" y="295"/>
                  <a:pt x="438" y="294"/>
                  <a:pt x="438" y="290"/>
                </a:cubicBezTo>
                <a:cubicBezTo>
                  <a:pt x="438" y="290"/>
                  <a:pt x="438" y="290"/>
                  <a:pt x="438" y="290"/>
                </a:cubicBezTo>
                <a:cubicBezTo>
                  <a:pt x="438" y="289"/>
                  <a:pt x="438" y="288"/>
                  <a:pt x="437" y="287"/>
                </a:cubicBezTo>
                <a:cubicBezTo>
                  <a:pt x="437" y="285"/>
                  <a:pt x="437" y="284"/>
                  <a:pt x="436" y="282"/>
                </a:cubicBezTo>
                <a:cubicBezTo>
                  <a:pt x="434" y="274"/>
                  <a:pt x="430" y="264"/>
                  <a:pt x="428" y="262"/>
                </a:cubicBezTo>
                <a:cubicBezTo>
                  <a:pt x="426" y="260"/>
                  <a:pt x="426" y="257"/>
                  <a:pt x="426" y="254"/>
                </a:cubicBezTo>
                <a:cubicBezTo>
                  <a:pt x="426" y="254"/>
                  <a:pt x="426" y="253"/>
                  <a:pt x="426" y="253"/>
                </a:cubicBezTo>
                <a:cubicBezTo>
                  <a:pt x="426" y="251"/>
                  <a:pt x="424" y="250"/>
                  <a:pt x="422" y="249"/>
                </a:cubicBezTo>
                <a:cubicBezTo>
                  <a:pt x="419" y="247"/>
                  <a:pt x="416" y="245"/>
                  <a:pt x="413" y="241"/>
                </a:cubicBezTo>
                <a:cubicBezTo>
                  <a:pt x="413" y="241"/>
                  <a:pt x="413" y="241"/>
                  <a:pt x="413" y="241"/>
                </a:cubicBezTo>
                <a:cubicBezTo>
                  <a:pt x="413" y="241"/>
                  <a:pt x="413" y="241"/>
                  <a:pt x="413" y="241"/>
                </a:cubicBezTo>
                <a:cubicBezTo>
                  <a:pt x="412" y="240"/>
                  <a:pt x="411" y="239"/>
                  <a:pt x="410" y="238"/>
                </a:cubicBezTo>
                <a:cubicBezTo>
                  <a:pt x="410" y="237"/>
                  <a:pt x="409" y="235"/>
                  <a:pt x="408" y="234"/>
                </a:cubicBezTo>
                <a:cubicBezTo>
                  <a:pt x="403" y="228"/>
                  <a:pt x="397" y="223"/>
                  <a:pt x="392" y="218"/>
                </a:cubicBezTo>
                <a:cubicBezTo>
                  <a:pt x="392" y="218"/>
                  <a:pt x="392" y="218"/>
                  <a:pt x="392" y="218"/>
                </a:cubicBezTo>
                <a:cubicBezTo>
                  <a:pt x="388" y="215"/>
                  <a:pt x="382" y="207"/>
                  <a:pt x="376" y="199"/>
                </a:cubicBezTo>
                <a:cubicBezTo>
                  <a:pt x="370" y="192"/>
                  <a:pt x="364" y="184"/>
                  <a:pt x="359" y="180"/>
                </a:cubicBezTo>
                <a:cubicBezTo>
                  <a:pt x="359" y="180"/>
                  <a:pt x="359" y="180"/>
                  <a:pt x="359" y="180"/>
                </a:cubicBezTo>
                <a:cubicBezTo>
                  <a:pt x="358" y="179"/>
                  <a:pt x="357" y="178"/>
                  <a:pt x="355" y="177"/>
                </a:cubicBezTo>
                <a:cubicBezTo>
                  <a:pt x="354" y="176"/>
                  <a:pt x="352" y="175"/>
                  <a:pt x="350" y="174"/>
                </a:cubicBezTo>
                <a:cubicBezTo>
                  <a:pt x="341" y="169"/>
                  <a:pt x="329" y="166"/>
                  <a:pt x="317" y="165"/>
                </a:cubicBezTo>
                <a:cubicBezTo>
                  <a:pt x="317" y="165"/>
                  <a:pt x="317" y="165"/>
                  <a:pt x="317" y="165"/>
                </a:cubicBezTo>
                <a:cubicBezTo>
                  <a:pt x="315" y="165"/>
                  <a:pt x="313" y="165"/>
                  <a:pt x="311" y="165"/>
                </a:cubicBezTo>
                <a:cubicBezTo>
                  <a:pt x="308" y="165"/>
                  <a:pt x="306" y="164"/>
                  <a:pt x="304" y="164"/>
                </a:cubicBezTo>
                <a:cubicBezTo>
                  <a:pt x="292" y="162"/>
                  <a:pt x="280" y="159"/>
                  <a:pt x="271" y="156"/>
                </a:cubicBezTo>
                <a:cubicBezTo>
                  <a:pt x="258" y="151"/>
                  <a:pt x="255" y="143"/>
                  <a:pt x="255" y="143"/>
                </a:cubicBezTo>
                <a:cubicBezTo>
                  <a:pt x="255" y="143"/>
                  <a:pt x="255" y="143"/>
                  <a:pt x="255" y="143"/>
                </a:cubicBezTo>
                <a:cubicBezTo>
                  <a:pt x="255" y="143"/>
                  <a:pt x="255" y="143"/>
                  <a:pt x="255" y="143"/>
                </a:cubicBezTo>
                <a:cubicBezTo>
                  <a:pt x="255" y="143"/>
                  <a:pt x="255" y="143"/>
                  <a:pt x="255" y="142"/>
                </a:cubicBezTo>
                <a:cubicBezTo>
                  <a:pt x="254" y="141"/>
                  <a:pt x="254" y="140"/>
                  <a:pt x="254" y="137"/>
                </a:cubicBezTo>
                <a:cubicBezTo>
                  <a:pt x="255" y="132"/>
                  <a:pt x="259" y="122"/>
                  <a:pt x="259" y="121"/>
                </a:cubicBezTo>
                <a:cubicBezTo>
                  <a:pt x="259" y="119"/>
                  <a:pt x="266" y="124"/>
                  <a:pt x="269" y="114"/>
                </a:cubicBezTo>
                <a:cubicBezTo>
                  <a:pt x="273" y="104"/>
                  <a:pt x="275" y="91"/>
                  <a:pt x="273" y="84"/>
                </a:cubicBezTo>
                <a:cubicBezTo>
                  <a:pt x="272" y="76"/>
                  <a:pt x="266" y="80"/>
                  <a:pt x="266" y="80"/>
                </a:cubicBezTo>
                <a:cubicBezTo>
                  <a:pt x="266" y="80"/>
                  <a:pt x="272" y="53"/>
                  <a:pt x="266" y="38"/>
                </a:cubicBezTo>
                <a:cubicBezTo>
                  <a:pt x="261" y="24"/>
                  <a:pt x="236" y="0"/>
                  <a:pt x="204" y="3"/>
                </a:cubicBezTo>
                <a:cubicBezTo>
                  <a:pt x="171" y="6"/>
                  <a:pt x="148" y="34"/>
                  <a:pt x="147" y="48"/>
                </a:cubicBezTo>
                <a:cubicBezTo>
                  <a:pt x="146" y="62"/>
                  <a:pt x="153" y="91"/>
                  <a:pt x="153" y="91"/>
                </a:cubicBezTo>
                <a:cubicBezTo>
                  <a:pt x="153" y="91"/>
                  <a:pt x="147" y="94"/>
                  <a:pt x="152" y="108"/>
                </a:cubicBezTo>
                <a:cubicBezTo>
                  <a:pt x="157" y="123"/>
                  <a:pt x="161" y="127"/>
                  <a:pt x="165" y="127"/>
                </a:cubicBezTo>
                <a:cubicBezTo>
                  <a:pt x="170" y="127"/>
                  <a:pt x="169" y="125"/>
                  <a:pt x="169" y="125"/>
                </a:cubicBezTo>
                <a:cubicBezTo>
                  <a:pt x="169" y="125"/>
                  <a:pt x="171" y="134"/>
                  <a:pt x="174" y="140"/>
                </a:cubicBezTo>
                <a:cubicBezTo>
                  <a:pt x="176" y="144"/>
                  <a:pt x="176" y="149"/>
                  <a:pt x="176" y="150"/>
                </a:cubicBezTo>
                <a:cubicBezTo>
                  <a:pt x="176" y="150"/>
                  <a:pt x="176" y="150"/>
                  <a:pt x="176" y="150"/>
                </a:cubicBezTo>
                <a:cubicBezTo>
                  <a:pt x="176" y="150"/>
                  <a:pt x="174" y="151"/>
                  <a:pt x="173" y="154"/>
                </a:cubicBezTo>
                <a:cubicBezTo>
                  <a:pt x="173" y="155"/>
                  <a:pt x="172" y="156"/>
                  <a:pt x="172" y="157"/>
                </a:cubicBezTo>
                <a:cubicBezTo>
                  <a:pt x="171" y="159"/>
                  <a:pt x="171" y="160"/>
                  <a:pt x="171" y="161"/>
                </a:cubicBezTo>
                <a:cubicBezTo>
                  <a:pt x="170" y="162"/>
                  <a:pt x="169" y="163"/>
                  <a:pt x="167" y="163"/>
                </a:cubicBezTo>
                <a:cubicBezTo>
                  <a:pt x="165" y="164"/>
                  <a:pt x="162" y="165"/>
                  <a:pt x="160" y="168"/>
                </a:cubicBezTo>
                <a:cubicBezTo>
                  <a:pt x="158" y="170"/>
                  <a:pt x="147" y="173"/>
                  <a:pt x="134" y="178"/>
                </a:cubicBezTo>
                <a:cubicBezTo>
                  <a:pt x="122" y="182"/>
                  <a:pt x="107" y="187"/>
                  <a:pt x="98" y="192"/>
                </a:cubicBezTo>
                <a:cubicBezTo>
                  <a:pt x="96" y="193"/>
                  <a:pt x="93" y="195"/>
                  <a:pt x="90" y="197"/>
                </a:cubicBezTo>
                <a:cubicBezTo>
                  <a:pt x="87" y="199"/>
                  <a:pt x="84" y="202"/>
                  <a:pt x="81" y="205"/>
                </a:cubicBezTo>
                <a:cubicBezTo>
                  <a:pt x="64" y="219"/>
                  <a:pt x="44" y="241"/>
                  <a:pt x="39" y="248"/>
                </a:cubicBezTo>
                <a:cubicBezTo>
                  <a:pt x="38" y="249"/>
                  <a:pt x="37" y="250"/>
                  <a:pt x="37" y="251"/>
                </a:cubicBezTo>
                <a:cubicBezTo>
                  <a:pt x="30" y="260"/>
                  <a:pt x="25" y="267"/>
                  <a:pt x="13" y="279"/>
                </a:cubicBezTo>
                <a:cubicBezTo>
                  <a:pt x="5" y="288"/>
                  <a:pt x="5" y="292"/>
                  <a:pt x="4" y="297"/>
                </a:cubicBezTo>
                <a:cubicBezTo>
                  <a:pt x="4" y="300"/>
                  <a:pt x="3" y="304"/>
                  <a:pt x="1" y="309"/>
                </a:cubicBezTo>
                <a:cubicBezTo>
                  <a:pt x="1" y="309"/>
                  <a:pt x="1" y="309"/>
                  <a:pt x="1" y="309"/>
                </a:cubicBezTo>
                <a:cubicBezTo>
                  <a:pt x="0" y="312"/>
                  <a:pt x="0" y="314"/>
                  <a:pt x="0" y="317"/>
                </a:cubicBezTo>
                <a:cubicBezTo>
                  <a:pt x="0" y="320"/>
                  <a:pt x="0" y="323"/>
                  <a:pt x="1" y="327"/>
                </a:cubicBezTo>
                <a:cubicBezTo>
                  <a:pt x="4" y="344"/>
                  <a:pt x="15" y="367"/>
                  <a:pt x="23" y="380"/>
                </a:cubicBezTo>
                <a:close/>
                <a:moveTo>
                  <a:pt x="344" y="274"/>
                </a:moveTo>
                <a:cubicBezTo>
                  <a:pt x="345" y="274"/>
                  <a:pt x="361" y="281"/>
                  <a:pt x="361" y="284"/>
                </a:cubicBezTo>
                <a:cubicBezTo>
                  <a:pt x="361" y="287"/>
                  <a:pt x="361" y="290"/>
                  <a:pt x="362" y="293"/>
                </a:cubicBezTo>
                <a:cubicBezTo>
                  <a:pt x="364" y="297"/>
                  <a:pt x="366" y="300"/>
                  <a:pt x="370" y="302"/>
                </a:cubicBezTo>
                <a:cubicBezTo>
                  <a:pt x="376" y="305"/>
                  <a:pt x="377" y="307"/>
                  <a:pt x="377" y="308"/>
                </a:cubicBezTo>
                <a:cubicBezTo>
                  <a:pt x="376" y="308"/>
                  <a:pt x="371" y="312"/>
                  <a:pt x="367" y="324"/>
                </a:cubicBezTo>
                <a:cubicBezTo>
                  <a:pt x="365" y="333"/>
                  <a:pt x="367" y="340"/>
                  <a:pt x="368" y="346"/>
                </a:cubicBezTo>
                <a:cubicBezTo>
                  <a:pt x="369" y="349"/>
                  <a:pt x="370" y="352"/>
                  <a:pt x="369" y="353"/>
                </a:cubicBezTo>
                <a:cubicBezTo>
                  <a:pt x="368" y="355"/>
                  <a:pt x="368" y="356"/>
                  <a:pt x="369" y="357"/>
                </a:cubicBezTo>
                <a:cubicBezTo>
                  <a:pt x="369" y="358"/>
                  <a:pt x="370" y="359"/>
                  <a:pt x="368" y="360"/>
                </a:cubicBezTo>
                <a:cubicBezTo>
                  <a:pt x="366" y="364"/>
                  <a:pt x="367" y="367"/>
                  <a:pt x="368" y="368"/>
                </a:cubicBezTo>
                <a:cubicBezTo>
                  <a:pt x="367" y="369"/>
                  <a:pt x="364" y="373"/>
                  <a:pt x="359" y="378"/>
                </a:cubicBezTo>
                <a:cubicBezTo>
                  <a:pt x="353" y="385"/>
                  <a:pt x="350" y="391"/>
                  <a:pt x="349" y="392"/>
                </a:cubicBezTo>
                <a:cubicBezTo>
                  <a:pt x="349" y="392"/>
                  <a:pt x="350" y="392"/>
                  <a:pt x="350" y="392"/>
                </a:cubicBezTo>
                <a:cubicBezTo>
                  <a:pt x="350" y="392"/>
                  <a:pt x="349" y="393"/>
                  <a:pt x="349" y="393"/>
                </a:cubicBezTo>
                <a:cubicBezTo>
                  <a:pt x="349" y="393"/>
                  <a:pt x="349" y="392"/>
                  <a:pt x="346" y="393"/>
                </a:cubicBezTo>
                <a:cubicBezTo>
                  <a:pt x="344" y="394"/>
                  <a:pt x="343" y="395"/>
                  <a:pt x="342" y="396"/>
                </a:cubicBezTo>
                <a:cubicBezTo>
                  <a:pt x="343" y="394"/>
                  <a:pt x="344" y="385"/>
                  <a:pt x="344" y="368"/>
                </a:cubicBezTo>
                <a:cubicBezTo>
                  <a:pt x="344" y="357"/>
                  <a:pt x="343" y="345"/>
                  <a:pt x="342" y="332"/>
                </a:cubicBezTo>
                <a:cubicBezTo>
                  <a:pt x="341" y="322"/>
                  <a:pt x="340" y="312"/>
                  <a:pt x="340" y="301"/>
                </a:cubicBezTo>
                <a:cubicBezTo>
                  <a:pt x="339" y="278"/>
                  <a:pt x="343" y="274"/>
                  <a:pt x="344" y="274"/>
                </a:cubicBezTo>
                <a:close/>
                <a:moveTo>
                  <a:pt x="77" y="330"/>
                </a:moveTo>
                <a:cubicBezTo>
                  <a:pt x="76" y="329"/>
                  <a:pt x="76" y="329"/>
                  <a:pt x="76" y="329"/>
                </a:cubicBezTo>
                <a:cubicBezTo>
                  <a:pt x="76" y="329"/>
                  <a:pt x="77" y="329"/>
                  <a:pt x="79" y="328"/>
                </a:cubicBezTo>
                <a:cubicBezTo>
                  <a:pt x="82" y="327"/>
                  <a:pt x="88" y="325"/>
                  <a:pt x="91" y="320"/>
                </a:cubicBezTo>
                <a:cubicBezTo>
                  <a:pt x="93" y="316"/>
                  <a:pt x="94" y="314"/>
                  <a:pt x="94" y="311"/>
                </a:cubicBezTo>
                <a:cubicBezTo>
                  <a:pt x="95" y="309"/>
                  <a:pt x="96" y="306"/>
                  <a:pt x="98" y="302"/>
                </a:cubicBezTo>
                <a:cubicBezTo>
                  <a:pt x="102" y="295"/>
                  <a:pt x="109" y="292"/>
                  <a:pt x="110" y="291"/>
                </a:cubicBezTo>
                <a:cubicBezTo>
                  <a:pt x="111" y="292"/>
                  <a:pt x="115" y="296"/>
                  <a:pt x="116" y="304"/>
                </a:cubicBezTo>
                <a:cubicBezTo>
                  <a:pt x="116" y="304"/>
                  <a:pt x="116" y="304"/>
                  <a:pt x="116" y="304"/>
                </a:cubicBezTo>
                <a:cubicBezTo>
                  <a:pt x="116" y="306"/>
                  <a:pt x="117" y="308"/>
                  <a:pt x="117" y="310"/>
                </a:cubicBezTo>
                <a:cubicBezTo>
                  <a:pt x="118" y="312"/>
                  <a:pt x="118" y="315"/>
                  <a:pt x="119" y="317"/>
                </a:cubicBezTo>
                <a:cubicBezTo>
                  <a:pt x="122" y="332"/>
                  <a:pt x="127" y="353"/>
                  <a:pt x="132" y="364"/>
                </a:cubicBezTo>
                <a:cubicBezTo>
                  <a:pt x="139" y="379"/>
                  <a:pt x="145" y="397"/>
                  <a:pt x="146" y="399"/>
                </a:cubicBezTo>
                <a:cubicBezTo>
                  <a:pt x="144" y="399"/>
                  <a:pt x="136" y="396"/>
                  <a:pt x="132" y="396"/>
                </a:cubicBezTo>
                <a:cubicBezTo>
                  <a:pt x="132" y="396"/>
                  <a:pt x="132" y="396"/>
                  <a:pt x="131" y="396"/>
                </a:cubicBezTo>
                <a:cubicBezTo>
                  <a:pt x="131" y="396"/>
                  <a:pt x="131" y="396"/>
                  <a:pt x="131" y="396"/>
                </a:cubicBezTo>
                <a:cubicBezTo>
                  <a:pt x="131" y="396"/>
                  <a:pt x="131" y="396"/>
                  <a:pt x="131" y="396"/>
                </a:cubicBezTo>
                <a:cubicBezTo>
                  <a:pt x="130" y="396"/>
                  <a:pt x="130" y="396"/>
                  <a:pt x="130" y="396"/>
                </a:cubicBezTo>
                <a:cubicBezTo>
                  <a:pt x="130" y="396"/>
                  <a:pt x="130" y="396"/>
                  <a:pt x="130" y="396"/>
                </a:cubicBezTo>
                <a:cubicBezTo>
                  <a:pt x="130" y="396"/>
                  <a:pt x="130" y="396"/>
                  <a:pt x="130" y="396"/>
                </a:cubicBezTo>
                <a:cubicBezTo>
                  <a:pt x="130" y="396"/>
                  <a:pt x="130" y="395"/>
                  <a:pt x="130" y="395"/>
                </a:cubicBezTo>
                <a:cubicBezTo>
                  <a:pt x="130" y="395"/>
                  <a:pt x="131" y="395"/>
                  <a:pt x="131" y="395"/>
                </a:cubicBezTo>
                <a:cubicBezTo>
                  <a:pt x="130" y="395"/>
                  <a:pt x="130" y="395"/>
                  <a:pt x="130" y="395"/>
                </a:cubicBezTo>
                <a:cubicBezTo>
                  <a:pt x="129" y="393"/>
                  <a:pt x="128" y="390"/>
                  <a:pt x="118" y="385"/>
                </a:cubicBezTo>
                <a:cubicBezTo>
                  <a:pt x="115" y="383"/>
                  <a:pt x="112" y="382"/>
                  <a:pt x="110" y="380"/>
                </a:cubicBezTo>
                <a:cubicBezTo>
                  <a:pt x="103" y="377"/>
                  <a:pt x="103" y="377"/>
                  <a:pt x="103" y="375"/>
                </a:cubicBezTo>
                <a:cubicBezTo>
                  <a:pt x="103" y="375"/>
                  <a:pt x="103" y="375"/>
                  <a:pt x="103" y="375"/>
                </a:cubicBezTo>
                <a:cubicBezTo>
                  <a:pt x="103" y="374"/>
                  <a:pt x="103" y="372"/>
                  <a:pt x="102" y="369"/>
                </a:cubicBezTo>
                <a:cubicBezTo>
                  <a:pt x="101" y="369"/>
                  <a:pt x="101" y="368"/>
                  <a:pt x="101" y="367"/>
                </a:cubicBezTo>
                <a:cubicBezTo>
                  <a:pt x="99" y="364"/>
                  <a:pt x="96" y="360"/>
                  <a:pt x="92" y="359"/>
                </a:cubicBezTo>
                <a:cubicBezTo>
                  <a:pt x="90" y="358"/>
                  <a:pt x="88" y="358"/>
                  <a:pt x="87" y="358"/>
                </a:cubicBezTo>
                <a:cubicBezTo>
                  <a:pt x="83" y="358"/>
                  <a:pt x="83" y="358"/>
                  <a:pt x="81" y="349"/>
                </a:cubicBezTo>
                <a:cubicBezTo>
                  <a:pt x="79" y="340"/>
                  <a:pt x="76" y="338"/>
                  <a:pt x="74" y="338"/>
                </a:cubicBezTo>
                <a:cubicBezTo>
                  <a:pt x="76" y="336"/>
                  <a:pt x="81" y="331"/>
                  <a:pt x="77" y="330"/>
                </a:cubicBezTo>
                <a:close/>
              </a:path>
            </a:pathLst>
          </a:custGeom>
          <a:solidFill>
            <a:schemeClr val="bg2">
              <a:lumMod val="9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9" name="Freeform 32"/>
          <p:cNvSpPr>
            <a:spLocks/>
          </p:cNvSpPr>
          <p:nvPr userDrawn="1"/>
        </p:nvSpPr>
        <p:spPr bwMode="auto">
          <a:xfrm>
            <a:off x="8968379" y="5799924"/>
            <a:ext cx="937621" cy="1063512"/>
          </a:xfrm>
          <a:custGeom>
            <a:avLst/>
            <a:gdLst/>
            <a:ahLst/>
            <a:cxnLst>
              <a:cxn ang="0">
                <a:pos x="257" y="305"/>
              </a:cxn>
              <a:cxn ang="0">
                <a:pos x="265" y="309"/>
              </a:cxn>
              <a:cxn ang="0">
                <a:pos x="276" y="319"/>
              </a:cxn>
              <a:cxn ang="0">
                <a:pos x="276" y="319"/>
              </a:cxn>
              <a:cxn ang="0">
                <a:pos x="275" y="334"/>
              </a:cxn>
              <a:cxn ang="0">
                <a:pos x="275" y="333"/>
              </a:cxn>
              <a:cxn ang="0">
                <a:pos x="275" y="333"/>
              </a:cxn>
              <a:cxn ang="0">
                <a:pos x="275" y="333"/>
              </a:cxn>
              <a:cxn ang="0">
                <a:pos x="275" y="333"/>
              </a:cxn>
              <a:cxn ang="0">
                <a:pos x="275" y="333"/>
              </a:cxn>
              <a:cxn ang="0">
                <a:pos x="275" y="333"/>
              </a:cxn>
              <a:cxn ang="0">
                <a:pos x="275" y="333"/>
              </a:cxn>
              <a:cxn ang="0">
                <a:pos x="275" y="333"/>
              </a:cxn>
              <a:cxn ang="0">
                <a:pos x="274" y="333"/>
              </a:cxn>
              <a:cxn ang="0">
                <a:pos x="274" y="333"/>
              </a:cxn>
              <a:cxn ang="0">
                <a:pos x="274" y="333"/>
              </a:cxn>
              <a:cxn ang="0">
                <a:pos x="274" y="333"/>
              </a:cxn>
              <a:cxn ang="0">
                <a:pos x="269" y="336"/>
              </a:cxn>
              <a:cxn ang="0">
                <a:pos x="269" y="336"/>
              </a:cxn>
              <a:cxn ang="0">
                <a:pos x="269" y="336"/>
              </a:cxn>
              <a:cxn ang="0">
                <a:pos x="271" y="343"/>
              </a:cxn>
              <a:cxn ang="0">
                <a:pos x="303" y="214"/>
              </a:cxn>
              <a:cxn ang="0">
                <a:pos x="292" y="197"/>
              </a:cxn>
              <a:cxn ang="0">
                <a:pos x="286" y="190"/>
              </a:cxn>
              <a:cxn ang="0">
                <a:pos x="223" y="160"/>
              </a:cxn>
              <a:cxn ang="0">
                <a:pos x="221" y="160"/>
              </a:cxn>
              <a:cxn ang="0">
                <a:pos x="192" y="151"/>
              </a:cxn>
              <a:cxn ang="0">
                <a:pos x="177" y="131"/>
              </a:cxn>
              <a:cxn ang="0">
                <a:pos x="177" y="132"/>
              </a:cxn>
              <a:cxn ang="0">
                <a:pos x="180" y="108"/>
              </a:cxn>
              <a:cxn ang="0">
                <a:pos x="194" y="74"/>
              </a:cxn>
              <a:cxn ang="0">
                <a:pos x="186" y="35"/>
              </a:cxn>
              <a:cxn ang="0">
                <a:pos x="77" y="46"/>
              </a:cxn>
              <a:cxn ang="0">
                <a:pos x="82" y="99"/>
              </a:cxn>
              <a:cxn ang="0">
                <a:pos x="97" y="113"/>
              </a:cxn>
              <a:cxn ang="0">
                <a:pos x="106" y="143"/>
              </a:cxn>
              <a:cxn ang="0">
                <a:pos x="105" y="142"/>
              </a:cxn>
              <a:cxn ang="0">
                <a:pos x="93" y="161"/>
              </a:cxn>
              <a:cxn ang="0">
                <a:pos x="69" y="180"/>
              </a:cxn>
              <a:cxn ang="0">
                <a:pos x="0" y="340"/>
              </a:cxn>
              <a:cxn ang="0">
                <a:pos x="0" y="340"/>
              </a:cxn>
              <a:cxn ang="0">
                <a:pos x="256" y="343"/>
              </a:cxn>
            </a:cxnLst>
            <a:rect l="0" t="0" r="r" b="b"/>
            <a:pathLst>
              <a:path w="303" h="343">
                <a:moveTo>
                  <a:pt x="256" y="343"/>
                </a:moveTo>
                <a:cubicBezTo>
                  <a:pt x="257" y="325"/>
                  <a:pt x="257" y="310"/>
                  <a:pt x="257" y="305"/>
                </a:cubicBezTo>
                <a:cubicBezTo>
                  <a:pt x="257" y="298"/>
                  <a:pt x="257" y="293"/>
                  <a:pt x="256" y="289"/>
                </a:cubicBezTo>
                <a:cubicBezTo>
                  <a:pt x="258" y="296"/>
                  <a:pt x="262" y="307"/>
                  <a:pt x="265" y="309"/>
                </a:cubicBezTo>
                <a:cubicBezTo>
                  <a:pt x="270" y="313"/>
                  <a:pt x="276" y="319"/>
                  <a:pt x="276" y="319"/>
                </a:cubicBezTo>
                <a:cubicBezTo>
                  <a:pt x="276" y="319"/>
                  <a:pt x="276" y="319"/>
                  <a:pt x="276" y="319"/>
                </a:cubicBezTo>
                <a:cubicBezTo>
                  <a:pt x="276" y="319"/>
                  <a:pt x="276" y="319"/>
                  <a:pt x="276" y="319"/>
                </a:cubicBezTo>
                <a:cubicBezTo>
                  <a:pt x="276" y="319"/>
                  <a:pt x="276" y="319"/>
                  <a:pt x="276" y="319"/>
                </a:cubicBezTo>
                <a:cubicBezTo>
                  <a:pt x="278" y="334"/>
                  <a:pt x="278" y="334"/>
                  <a:pt x="278" y="334"/>
                </a:cubicBezTo>
                <a:cubicBezTo>
                  <a:pt x="278" y="334"/>
                  <a:pt x="277" y="334"/>
                  <a:pt x="275" y="334"/>
                </a:cubicBezTo>
                <a:cubicBezTo>
                  <a:pt x="275" y="333"/>
                  <a:pt x="275" y="333"/>
                  <a:pt x="275" y="333"/>
                </a:cubicBezTo>
                <a:cubicBezTo>
                  <a:pt x="275" y="333"/>
                  <a:pt x="275" y="333"/>
                  <a:pt x="275" y="333"/>
                </a:cubicBezTo>
                <a:cubicBezTo>
                  <a:pt x="275" y="333"/>
                  <a:pt x="275" y="333"/>
                  <a:pt x="275" y="333"/>
                </a:cubicBezTo>
                <a:cubicBezTo>
                  <a:pt x="275" y="333"/>
                  <a:pt x="275" y="333"/>
                  <a:pt x="275" y="333"/>
                </a:cubicBezTo>
                <a:cubicBezTo>
                  <a:pt x="275" y="333"/>
                  <a:pt x="275" y="333"/>
                  <a:pt x="275" y="333"/>
                </a:cubicBezTo>
                <a:cubicBezTo>
                  <a:pt x="275" y="333"/>
                  <a:pt x="275" y="333"/>
                  <a:pt x="275" y="333"/>
                </a:cubicBezTo>
                <a:cubicBezTo>
                  <a:pt x="275" y="333"/>
                  <a:pt x="275" y="333"/>
                  <a:pt x="275" y="333"/>
                </a:cubicBezTo>
                <a:cubicBezTo>
                  <a:pt x="275" y="333"/>
                  <a:pt x="275" y="333"/>
                  <a:pt x="275" y="333"/>
                </a:cubicBezTo>
                <a:cubicBezTo>
                  <a:pt x="275" y="333"/>
                  <a:pt x="275" y="333"/>
                  <a:pt x="275" y="333"/>
                </a:cubicBezTo>
                <a:cubicBezTo>
                  <a:pt x="275" y="333"/>
                  <a:pt x="275" y="333"/>
                  <a:pt x="275" y="333"/>
                </a:cubicBezTo>
                <a:cubicBezTo>
                  <a:pt x="275" y="333"/>
                  <a:pt x="275" y="333"/>
                  <a:pt x="275" y="333"/>
                </a:cubicBezTo>
                <a:cubicBezTo>
                  <a:pt x="275" y="333"/>
                  <a:pt x="275" y="333"/>
                  <a:pt x="275" y="333"/>
                </a:cubicBezTo>
                <a:cubicBezTo>
                  <a:pt x="275" y="333"/>
                  <a:pt x="275" y="333"/>
                  <a:pt x="275" y="333"/>
                </a:cubicBezTo>
                <a:cubicBezTo>
                  <a:pt x="275" y="333"/>
                  <a:pt x="275" y="333"/>
                  <a:pt x="275" y="333"/>
                </a:cubicBezTo>
                <a:cubicBezTo>
                  <a:pt x="275" y="333"/>
                  <a:pt x="275" y="333"/>
                  <a:pt x="275" y="333"/>
                </a:cubicBezTo>
                <a:cubicBezTo>
                  <a:pt x="275" y="333"/>
                  <a:pt x="275" y="333"/>
                  <a:pt x="275" y="333"/>
                </a:cubicBezTo>
                <a:cubicBezTo>
                  <a:pt x="275" y="333"/>
                  <a:pt x="274" y="333"/>
                  <a:pt x="274" y="333"/>
                </a:cubicBezTo>
                <a:cubicBezTo>
                  <a:pt x="274" y="333"/>
                  <a:pt x="274" y="333"/>
                  <a:pt x="274" y="333"/>
                </a:cubicBezTo>
                <a:cubicBezTo>
                  <a:pt x="274" y="333"/>
                  <a:pt x="274" y="333"/>
                  <a:pt x="274" y="333"/>
                </a:cubicBezTo>
                <a:cubicBezTo>
                  <a:pt x="274" y="333"/>
                  <a:pt x="274" y="333"/>
                  <a:pt x="274" y="333"/>
                </a:cubicBezTo>
                <a:cubicBezTo>
                  <a:pt x="274" y="333"/>
                  <a:pt x="274" y="333"/>
                  <a:pt x="274" y="333"/>
                </a:cubicBezTo>
                <a:cubicBezTo>
                  <a:pt x="274" y="333"/>
                  <a:pt x="274" y="333"/>
                  <a:pt x="274" y="333"/>
                </a:cubicBezTo>
                <a:cubicBezTo>
                  <a:pt x="274" y="333"/>
                  <a:pt x="274" y="333"/>
                  <a:pt x="274" y="333"/>
                </a:cubicBezTo>
                <a:cubicBezTo>
                  <a:pt x="274" y="333"/>
                  <a:pt x="274" y="333"/>
                  <a:pt x="274" y="333"/>
                </a:cubicBezTo>
                <a:cubicBezTo>
                  <a:pt x="274" y="333"/>
                  <a:pt x="274" y="333"/>
                  <a:pt x="274" y="333"/>
                </a:cubicBezTo>
                <a:cubicBezTo>
                  <a:pt x="272" y="333"/>
                  <a:pt x="270" y="334"/>
                  <a:pt x="269" y="336"/>
                </a:cubicBezTo>
                <a:cubicBezTo>
                  <a:pt x="269" y="336"/>
                  <a:pt x="269" y="336"/>
                  <a:pt x="269" y="336"/>
                </a:cubicBezTo>
                <a:cubicBezTo>
                  <a:pt x="269" y="336"/>
                  <a:pt x="269" y="336"/>
                  <a:pt x="269" y="336"/>
                </a:cubicBezTo>
                <a:cubicBezTo>
                  <a:pt x="269" y="336"/>
                  <a:pt x="269" y="336"/>
                  <a:pt x="269" y="336"/>
                </a:cubicBezTo>
                <a:cubicBezTo>
                  <a:pt x="269" y="336"/>
                  <a:pt x="269" y="336"/>
                  <a:pt x="269" y="336"/>
                </a:cubicBezTo>
                <a:cubicBezTo>
                  <a:pt x="269" y="336"/>
                  <a:pt x="269" y="336"/>
                  <a:pt x="269" y="336"/>
                </a:cubicBezTo>
                <a:cubicBezTo>
                  <a:pt x="269" y="338"/>
                  <a:pt x="270" y="341"/>
                  <a:pt x="271" y="343"/>
                </a:cubicBezTo>
                <a:cubicBezTo>
                  <a:pt x="303" y="343"/>
                  <a:pt x="303" y="343"/>
                  <a:pt x="303" y="343"/>
                </a:cubicBezTo>
                <a:cubicBezTo>
                  <a:pt x="303" y="214"/>
                  <a:pt x="303" y="214"/>
                  <a:pt x="303" y="214"/>
                </a:cubicBezTo>
                <a:cubicBezTo>
                  <a:pt x="299" y="206"/>
                  <a:pt x="294" y="199"/>
                  <a:pt x="292" y="197"/>
                </a:cubicBezTo>
                <a:cubicBezTo>
                  <a:pt x="292" y="197"/>
                  <a:pt x="292" y="197"/>
                  <a:pt x="292" y="197"/>
                </a:cubicBezTo>
                <a:cubicBezTo>
                  <a:pt x="292" y="196"/>
                  <a:pt x="291" y="195"/>
                  <a:pt x="290" y="194"/>
                </a:cubicBezTo>
                <a:cubicBezTo>
                  <a:pt x="289" y="193"/>
                  <a:pt x="288" y="191"/>
                  <a:pt x="286" y="190"/>
                </a:cubicBezTo>
                <a:cubicBezTo>
                  <a:pt x="279" y="183"/>
                  <a:pt x="267" y="172"/>
                  <a:pt x="255" y="167"/>
                </a:cubicBezTo>
                <a:cubicBezTo>
                  <a:pt x="242" y="161"/>
                  <a:pt x="231" y="161"/>
                  <a:pt x="223" y="160"/>
                </a:cubicBezTo>
                <a:cubicBezTo>
                  <a:pt x="223" y="160"/>
                  <a:pt x="222" y="160"/>
                  <a:pt x="221" y="160"/>
                </a:cubicBezTo>
                <a:cubicBezTo>
                  <a:pt x="221" y="160"/>
                  <a:pt x="221" y="160"/>
                  <a:pt x="221" y="160"/>
                </a:cubicBezTo>
                <a:cubicBezTo>
                  <a:pt x="217" y="160"/>
                  <a:pt x="210" y="157"/>
                  <a:pt x="204" y="155"/>
                </a:cubicBezTo>
                <a:cubicBezTo>
                  <a:pt x="199" y="153"/>
                  <a:pt x="194" y="151"/>
                  <a:pt x="192" y="151"/>
                </a:cubicBezTo>
                <a:cubicBezTo>
                  <a:pt x="187" y="151"/>
                  <a:pt x="177" y="131"/>
                  <a:pt x="177" y="131"/>
                </a:cubicBezTo>
                <a:cubicBezTo>
                  <a:pt x="177" y="131"/>
                  <a:pt x="177" y="131"/>
                  <a:pt x="177" y="131"/>
                </a:cubicBezTo>
                <a:cubicBezTo>
                  <a:pt x="177" y="132"/>
                  <a:pt x="177" y="132"/>
                  <a:pt x="177" y="132"/>
                </a:cubicBezTo>
                <a:cubicBezTo>
                  <a:pt x="177" y="132"/>
                  <a:pt x="177" y="132"/>
                  <a:pt x="177" y="132"/>
                </a:cubicBezTo>
                <a:cubicBezTo>
                  <a:pt x="177" y="132"/>
                  <a:pt x="176" y="125"/>
                  <a:pt x="178" y="119"/>
                </a:cubicBezTo>
                <a:cubicBezTo>
                  <a:pt x="180" y="112"/>
                  <a:pt x="180" y="108"/>
                  <a:pt x="180" y="108"/>
                </a:cubicBezTo>
                <a:cubicBezTo>
                  <a:pt x="180" y="108"/>
                  <a:pt x="187" y="108"/>
                  <a:pt x="190" y="100"/>
                </a:cubicBezTo>
                <a:cubicBezTo>
                  <a:pt x="192" y="92"/>
                  <a:pt x="196" y="78"/>
                  <a:pt x="194" y="74"/>
                </a:cubicBezTo>
                <a:cubicBezTo>
                  <a:pt x="192" y="70"/>
                  <a:pt x="187" y="72"/>
                  <a:pt x="187" y="72"/>
                </a:cubicBezTo>
                <a:cubicBezTo>
                  <a:pt x="187" y="72"/>
                  <a:pt x="194" y="55"/>
                  <a:pt x="186" y="35"/>
                </a:cubicBezTo>
                <a:cubicBezTo>
                  <a:pt x="178" y="15"/>
                  <a:pt x="147" y="0"/>
                  <a:pt x="129" y="1"/>
                </a:cubicBezTo>
                <a:cubicBezTo>
                  <a:pt x="111" y="2"/>
                  <a:pt x="78" y="26"/>
                  <a:pt x="77" y="46"/>
                </a:cubicBezTo>
                <a:cubicBezTo>
                  <a:pt x="76" y="66"/>
                  <a:pt x="83" y="84"/>
                  <a:pt x="83" y="84"/>
                </a:cubicBezTo>
                <a:cubicBezTo>
                  <a:pt x="83" y="84"/>
                  <a:pt x="77" y="85"/>
                  <a:pt x="82" y="99"/>
                </a:cubicBezTo>
                <a:cubicBezTo>
                  <a:pt x="86" y="112"/>
                  <a:pt x="89" y="116"/>
                  <a:pt x="93" y="116"/>
                </a:cubicBezTo>
                <a:cubicBezTo>
                  <a:pt x="97" y="116"/>
                  <a:pt x="97" y="113"/>
                  <a:pt x="97" y="113"/>
                </a:cubicBezTo>
                <a:cubicBezTo>
                  <a:pt x="97" y="113"/>
                  <a:pt x="100" y="124"/>
                  <a:pt x="102" y="129"/>
                </a:cubicBezTo>
                <a:cubicBezTo>
                  <a:pt x="104" y="134"/>
                  <a:pt x="106" y="143"/>
                  <a:pt x="106" y="143"/>
                </a:cubicBezTo>
                <a:cubicBezTo>
                  <a:pt x="106" y="143"/>
                  <a:pt x="106" y="143"/>
                  <a:pt x="105" y="143"/>
                </a:cubicBezTo>
                <a:cubicBezTo>
                  <a:pt x="105" y="143"/>
                  <a:pt x="105" y="142"/>
                  <a:pt x="105" y="142"/>
                </a:cubicBezTo>
                <a:cubicBezTo>
                  <a:pt x="104" y="143"/>
                  <a:pt x="96" y="149"/>
                  <a:pt x="94" y="155"/>
                </a:cubicBezTo>
                <a:cubicBezTo>
                  <a:pt x="93" y="157"/>
                  <a:pt x="93" y="159"/>
                  <a:pt x="93" y="161"/>
                </a:cubicBezTo>
                <a:cubicBezTo>
                  <a:pt x="93" y="164"/>
                  <a:pt x="93" y="167"/>
                  <a:pt x="90" y="170"/>
                </a:cubicBezTo>
                <a:cubicBezTo>
                  <a:pt x="87" y="172"/>
                  <a:pt x="78" y="176"/>
                  <a:pt x="69" y="180"/>
                </a:cubicBezTo>
                <a:cubicBezTo>
                  <a:pt x="59" y="185"/>
                  <a:pt x="47" y="190"/>
                  <a:pt x="41" y="194"/>
                </a:cubicBezTo>
                <a:cubicBezTo>
                  <a:pt x="29" y="202"/>
                  <a:pt x="1" y="339"/>
                  <a:pt x="0" y="340"/>
                </a:cubicBezTo>
                <a:cubicBezTo>
                  <a:pt x="0" y="340"/>
                  <a:pt x="0" y="340"/>
                  <a:pt x="0" y="340"/>
                </a:cubicBezTo>
                <a:cubicBezTo>
                  <a:pt x="0" y="340"/>
                  <a:pt x="0" y="340"/>
                  <a:pt x="0" y="340"/>
                </a:cubicBezTo>
                <a:cubicBezTo>
                  <a:pt x="0" y="340"/>
                  <a:pt x="0" y="341"/>
                  <a:pt x="0" y="343"/>
                </a:cubicBezTo>
                <a:lnTo>
                  <a:pt x="256" y="343"/>
                </a:ln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0" name="Freeform 33"/>
          <p:cNvSpPr>
            <a:spLocks/>
          </p:cNvSpPr>
          <p:nvPr userDrawn="1"/>
        </p:nvSpPr>
        <p:spPr bwMode="auto">
          <a:xfrm>
            <a:off x="7868149" y="5877295"/>
            <a:ext cx="691086" cy="986141"/>
          </a:xfrm>
          <a:custGeom>
            <a:avLst/>
            <a:gdLst/>
            <a:ahLst/>
            <a:cxnLst>
              <a:cxn ang="0">
                <a:pos x="50" y="307"/>
              </a:cxn>
              <a:cxn ang="0">
                <a:pos x="49" y="318"/>
              </a:cxn>
              <a:cxn ang="0">
                <a:pos x="216" y="318"/>
              </a:cxn>
              <a:cxn ang="0">
                <a:pos x="218" y="312"/>
              </a:cxn>
              <a:cxn ang="0">
                <a:pos x="223" y="235"/>
              </a:cxn>
              <a:cxn ang="0">
                <a:pos x="219" y="168"/>
              </a:cxn>
              <a:cxn ang="0">
                <a:pos x="209" y="153"/>
              </a:cxn>
              <a:cxn ang="0">
                <a:pos x="177" y="143"/>
              </a:cxn>
              <a:cxn ang="0">
                <a:pos x="159" y="124"/>
              </a:cxn>
              <a:cxn ang="0">
                <a:pos x="159" y="124"/>
              </a:cxn>
              <a:cxn ang="0">
                <a:pos x="158" y="123"/>
              </a:cxn>
              <a:cxn ang="0">
                <a:pos x="155" y="122"/>
              </a:cxn>
              <a:cxn ang="0">
                <a:pos x="155" y="121"/>
              </a:cxn>
              <a:cxn ang="0">
                <a:pos x="153" y="119"/>
              </a:cxn>
              <a:cxn ang="0">
                <a:pos x="150" y="107"/>
              </a:cxn>
              <a:cxn ang="0">
                <a:pos x="159" y="84"/>
              </a:cxn>
              <a:cxn ang="0">
                <a:pos x="165" y="49"/>
              </a:cxn>
              <a:cxn ang="0">
                <a:pos x="127" y="0"/>
              </a:cxn>
              <a:cxn ang="0">
                <a:pos x="91" y="50"/>
              </a:cxn>
              <a:cxn ang="0">
                <a:pos x="96" y="81"/>
              </a:cxn>
              <a:cxn ang="0">
                <a:pos x="103" y="99"/>
              </a:cxn>
              <a:cxn ang="0">
                <a:pos x="107" y="112"/>
              </a:cxn>
              <a:cxn ang="0">
                <a:pos x="104" y="120"/>
              </a:cxn>
              <a:cxn ang="0">
                <a:pos x="103" y="121"/>
              </a:cxn>
              <a:cxn ang="0">
                <a:pos x="103" y="121"/>
              </a:cxn>
              <a:cxn ang="0">
                <a:pos x="102" y="122"/>
              </a:cxn>
              <a:cxn ang="0">
                <a:pos x="102" y="122"/>
              </a:cxn>
              <a:cxn ang="0">
                <a:pos x="102" y="122"/>
              </a:cxn>
              <a:cxn ang="0">
                <a:pos x="101" y="122"/>
              </a:cxn>
              <a:cxn ang="0">
                <a:pos x="100" y="122"/>
              </a:cxn>
              <a:cxn ang="0">
                <a:pos x="99" y="122"/>
              </a:cxn>
              <a:cxn ang="0">
                <a:pos x="99" y="122"/>
              </a:cxn>
              <a:cxn ang="0">
                <a:pos x="89" y="130"/>
              </a:cxn>
              <a:cxn ang="0">
                <a:pos x="66" y="141"/>
              </a:cxn>
              <a:cxn ang="0">
                <a:pos x="33" y="158"/>
              </a:cxn>
              <a:cxn ang="0">
                <a:pos x="29" y="183"/>
              </a:cxn>
              <a:cxn ang="0">
                <a:pos x="21" y="213"/>
              </a:cxn>
              <a:cxn ang="0">
                <a:pos x="11" y="293"/>
              </a:cxn>
              <a:cxn ang="0">
                <a:pos x="50" y="307"/>
              </a:cxn>
            </a:cxnLst>
            <a:rect l="0" t="0" r="r" b="b"/>
            <a:pathLst>
              <a:path w="223" h="318">
                <a:moveTo>
                  <a:pt x="50" y="307"/>
                </a:moveTo>
                <a:cubicBezTo>
                  <a:pt x="50" y="307"/>
                  <a:pt x="50" y="311"/>
                  <a:pt x="49" y="318"/>
                </a:cubicBezTo>
                <a:cubicBezTo>
                  <a:pt x="216" y="318"/>
                  <a:pt x="216" y="318"/>
                  <a:pt x="216" y="318"/>
                </a:cubicBezTo>
                <a:cubicBezTo>
                  <a:pt x="217" y="316"/>
                  <a:pt x="218" y="314"/>
                  <a:pt x="218" y="312"/>
                </a:cubicBezTo>
                <a:cubicBezTo>
                  <a:pt x="223" y="295"/>
                  <a:pt x="223" y="268"/>
                  <a:pt x="223" y="235"/>
                </a:cubicBezTo>
                <a:cubicBezTo>
                  <a:pt x="222" y="201"/>
                  <a:pt x="219" y="177"/>
                  <a:pt x="219" y="168"/>
                </a:cubicBezTo>
                <a:cubicBezTo>
                  <a:pt x="219" y="160"/>
                  <a:pt x="221" y="156"/>
                  <a:pt x="209" y="153"/>
                </a:cubicBezTo>
                <a:cubicBezTo>
                  <a:pt x="196" y="150"/>
                  <a:pt x="188" y="151"/>
                  <a:pt x="177" y="143"/>
                </a:cubicBezTo>
                <a:cubicBezTo>
                  <a:pt x="167" y="136"/>
                  <a:pt x="163" y="128"/>
                  <a:pt x="159" y="124"/>
                </a:cubicBezTo>
                <a:cubicBezTo>
                  <a:pt x="159" y="124"/>
                  <a:pt x="159" y="124"/>
                  <a:pt x="159" y="124"/>
                </a:cubicBezTo>
                <a:cubicBezTo>
                  <a:pt x="158" y="124"/>
                  <a:pt x="158" y="124"/>
                  <a:pt x="158" y="123"/>
                </a:cubicBezTo>
                <a:cubicBezTo>
                  <a:pt x="157" y="123"/>
                  <a:pt x="156" y="122"/>
                  <a:pt x="155" y="122"/>
                </a:cubicBezTo>
                <a:cubicBezTo>
                  <a:pt x="155" y="121"/>
                  <a:pt x="155" y="121"/>
                  <a:pt x="155" y="121"/>
                </a:cubicBezTo>
                <a:cubicBezTo>
                  <a:pt x="154" y="120"/>
                  <a:pt x="154" y="120"/>
                  <a:pt x="153" y="119"/>
                </a:cubicBezTo>
                <a:cubicBezTo>
                  <a:pt x="150" y="116"/>
                  <a:pt x="147" y="111"/>
                  <a:pt x="150" y="107"/>
                </a:cubicBezTo>
                <a:cubicBezTo>
                  <a:pt x="153" y="102"/>
                  <a:pt x="159" y="96"/>
                  <a:pt x="159" y="84"/>
                </a:cubicBezTo>
                <a:cubicBezTo>
                  <a:pt x="168" y="83"/>
                  <a:pt x="172" y="50"/>
                  <a:pt x="165" y="49"/>
                </a:cubicBezTo>
                <a:cubicBezTo>
                  <a:pt x="163" y="26"/>
                  <a:pt x="160" y="0"/>
                  <a:pt x="127" y="0"/>
                </a:cubicBezTo>
                <a:cubicBezTo>
                  <a:pt x="98" y="0"/>
                  <a:pt x="91" y="24"/>
                  <a:pt x="91" y="50"/>
                </a:cubicBezTo>
                <a:cubicBezTo>
                  <a:pt x="84" y="50"/>
                  <a:pt x="88" y="81"/>
                  <a:pt x="96" y="81"/>
                </a:cubicBezTo>
                <a:cubicBezTo>
                  <a:pt x="95" y="84"/>
                  <a:pt x="99" y="97"/>
                  <a:pt x="103" y="99"/>
                </a:cubicBezTo>
                <a:cubicBezTo>
                  <a:pt x="106" y="102"/>
                  <a:pt x="107" y="105"/>
                  <a:pt x="107" y="112"/>
                </a:cubicBezTo>
                <a:cubicBezTo>
                  <a:pt x="107" y="115"/>
                  <a:pt x="105" y="118"/>
                  <a:pt x="104" y="120"/>
                </a:cubicBezTo>
                <a:cubicBezTo>
                  <a:pt x="103" y="120"/>
                  <a:pt x="103" y="121"/>
                  <a:pt x="103" y="121"/>
                </a:cubicBezTo>
                <a:cubicBezTo>
                  <a:pt x="103" y="121"/>
                  <a:pt x="103" y="121"/>
                  <a:pt x="103" y="121"/>
                </a:cubicBezTo>
                <a:cubicBezTo>
                  <a:pt x="102" y="121"/>
                  <a:pt x="102" y="122"/>
                  <a:pt x="102" y="122"/>
                </a:cubicBezTo>
                <a:cubicBezTo>
                  <a:pt x="102" y="122"/>
                  <a:pt x="102" y="122"/>
                  <a:pt x="102" y="122"/>
                </a:cubicBezTo>
                <a:cubicBezTo>
                  <a:pt x="102" y="122"/>
                  <a:pt x="102" y="122"/>
                  <a:pt x="102" y="122"/>
                </a:cubicBezTo>
                <a:cubicBezTo>
                  <a:pt x="101" y="122"/>
                  <a:pt x="101" y="122"/>
                  <a:pt x="101" y="122"/>
                </a:cubicBezTo>
                <a:cubicBezTo>
                  <a:pt x="101" y="122"/>
                  <a:pt x="100" y="122"/>
                  <a:pt x="100" y="122"/>
                </a:cubicBezTo>
                <a:cubicBezTo>
                  <a:pt x="100" y="122"/>
                  <a:pt x="99" y="122"/>
                  <a:pt x="99" y="122"/>
                </a:cubicBezTo>
                <a:cubicBezTo>
                  <a:pt x="99" y="122"/>
                  <a:pt x="99" y="122"/>
                  <a:pt x="99" y="122"/>
                </a:cubicBezTo>
                <a:cubicBezTo>
                  <a:pt x="95" y="124"/>
                  <a:pt x="90" y="126"/>
                  <a:pt x="89" y="130"/>
                </a:cubicBezTo>
                <a:cubicBezTo>
                  <a:pt x="88" y="137"/>
                  <a:pt x="78" y="141"/>
                  <a:pt x="66" y="141"/>
                </a:cubicBezTo>
                <a:cubicBezTo>
                  <a:pt x="54" y="142"/>
                  <a:pt x="33" y="149"/>
                  <a:pt x="33" y="158"/>
                </a:cubicBezTo>
                <a:cubicBezTo>
                  <a:pt x="33" y="167"/>
                  <a:pt x="32" y="184"/>
                  <a:pt x="29" y="183"/>
                </a:cubicBezTo>
                <a:cubicBezTo>
                  <a:pt x="25" y="182"/>
                  <a:pt x="24" y="198"/>
                  <a:pt x="21" y="213"/>
                </a:cubicBezTo>
                <a:cubicBezTo>
                  <a:pt x="18" y="228"/>
                  <a:pt x="0" y="278"/>
                  <a:pt x="11" y="293"/>
                </a:cubicBezTo>
                <a:cubicBezTo>
                  <a:pt x="23" y="308"/>
                  <a:pt x="50" y="307"/>
                  <a:pt x="50" y="307"/>
                </a:cubicBez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1" name="Freeform 34"/>
          <p:cNvSpPr>
            <a:spLocks/>
          </p:cNvSpPr>
          <p:nvPr userDrawn="1"/>
        </p:nvSpPr>
        <p:spPr bwMode="auto">
          <a:xfrm>
            <a:off x="7199357" y="6063507"/>
            <a:ext cx="405210" cy="799929"/>
          </a:xfrm>
          <a:custGeom>
            <a:avLst/>
            <a:gdLst/>
            <a:ahLst/>
            <a:cxnLst>
              <a:cxn ang="0">
                <a:pos x="129" y="258"/>
              </a:cxn>
              <a:cxn ang="0">
                <a:pos x="129" y="243"/>
              </a:cxn>
              <a:cxn ang="0">
                <a:pos x="120" y="191"/>
              </a:cxn>
              <a:cxn ang="0">
                <a:pos x="94" y="156"/>
              </a:cxn>
              <a:cxn ang="0">
                <a:pos x="96" y="152"/>
              </a:cxn>
              <a:cxn ang="0">
                <a:pos x="92" y="124"/>
              </a:cxn>
              <a:cxn ang="0">
                <a:pos x="88" y="106"/>
              </a:cxn>
              <a:cxn ang="0">
                <a:pos x="89" y="106"/>
              </a:cxn>
              <a:cxn ang="0">
                <a:pos x="104" y="98"/>
              </a:cxn>
              <a:cxn ang="0">
                <a:pos x="115" y="65"/>
              </a:cxn>
              <a:cxn ang="0">
                <a:pos x="114" y="55"/>
              </a:cxn>
              <a:cxn ang="0">
                <a:pos x="116" y="17"/>
              </a:cxn>
              <a:cxn ang="0">
                <a:pos x="93" y="1"/>
              </a:cxn>
              <a:cxn ang="0">
                <a:pos x="83" y="0"/>
              </a:cxn>
              <a:cxn ang="0">
                <a:pos x="79" y="0"/>
              </a:cxn>
              <a:cxn ang="0">
                <a:pos x="35" y="39"/>
              </a:cxn>
              <a:cxn ang="0">
                <a:pos x="19" y="74"/>
              </a:cxn>
              <a:cxn ang="0">
                <a:pos x="12" y="108"/>
              </a:cxn>
              <a:cxn ang="0">
                <a:pos x="17" y="143"/>
              </a:cxn>
              <a:cxn ang="0">
                <a:pos x="12" y="164"/>
              </a:cxn>
              <a:cxn ang="0">
                <a:pos x="8" y="227"/>
              </a:cxn>
              <a:cxn ang="0">
                <a:pos x="4" y="258"/>
              </a:cxn>
              <a:cxn ang="0">
                <a:pos x="129" y="258"/>
              </a:cxn>
            </a:cxnLst>
            <a:rect l="0" t="0" r="r" b="b"/>
            <a:pathLst>
              <a:path w="131" h="258">
                <a:moveTo>
                  <a:pt x="129" y="258"/>
                </a:moveTo>
                <a:cubicBezTo>
                  <a:pt x="129" y="253"/>
                  <a:pt x="129" y="247"/>
                  <a:pt x="129" y="243"/>
                </a:cubicBezTo>
                <a:cubicBezTo>
                  <a:pt x="129" y="228"/>
                  <a:pt x="131" y="208"/>
                  <a:pt x="120" y="191"/>
                </a:cubicBezTo>
                <a:cubicBezTo>
                  <a:pt x="112" y="177"/>
                  <a:pt x="102" y="166"/>
                  <a:pt x="94" y="156"/>
                </a:cubicBezTo>
                <a:cubicBezTo>
                  <a:pt x="95" y="155"/>
                  <a:pt x="95" y="154"/>
                  <a:pt x="96" y="152"/>
                </a:cubicBezTo>
                <a:cubicBezTo>
                  <a:pt x="99" y="140"/>
                  <a:pt x="86" y="133"/>
                  <a:pt x="92" y="124"/>
                </a:cubicBezTo>
                <a:cubicBezTo>
                  <a:pt x="96" y="118"/>
                  <a:pt x="88" y="112"/>
                  <a:pt x="88" y="106"/>
                </a:cubicBezTo>
                <a:cubicBezTo>
                  <a:pt x="88" y="106"/>
                  <a:pt x="89" y="106"/>
                  <a:pt x="89" y="106"/>
                </a:cubicBezTo>
                <a:cubicBezTo>
                  <a:pt x="95" y="106"/>
                  <a:pt x="101" y="106"/>
                  <a:pt x="104" y="98"/>
                </a:cubicBezTo>
                <a:cubicBezTo>
                  <a:pt x="107" y="90"/>
                  <a:pt x="114" y="75"/>
                  <a:pt x="115" y="65"/>
                </a:cubicBezTo>
                <a:cubicBezTo>
                  <a:pt x="115" y="60"/>
                  <a:pt x="115" y="57"/>
                  <a:pt x="114" y="55"/>
                </a:cubicBezTo>
                <a:cubicBezTo>
                  <a:pt x="121" y="45"/>
                  <a:pt x="123" y="27"/>
                  <a:pt x="116" y="17"/>
                </a:cubicBezTo>
                <a:cubicBezTo>
                  <a:pt x="110" y="9"/>
                  <a:pt x="102" y="4"/>
                  <a:pt x="93" y="1"/>
                </a:cubicBezTo>
                <a:cubicBezTo>
                  <a:pt x="90" y="0"/>
                  <a:pt x="86" y="0"/>
                  <a:pt x="83" y="0"/>
                </a:cubicBezTo>
                <a:cubicBezTo>
                  <a:pt x="81" y="0"/>
                  <a:pt x="80" y="0"/>
                  <a:pt x="79" y="0"/>
                </a:cubicBezTo>
                <a:cubicBezTo>
                  <a:pt x="57" y="0"/>
                  <a:pt x="35" y="15"/>
                  <a:pt x="35" y="39"/>
                </a:cubicBezTo>
                <a:cubicBezTo>
                  <a:pt x="36" y="79"/>
                  <a:pt x="11" y="54"/>
                  <a:pt x="19" y="74"/>
                </a:cubicBezTo>
                <a:cubicBezTo>
                  <a:pt x="27" y="94"/>
                  <a:pt x="1" y="92"/>
                  <a:pt x="12" y="108"/>
                </a:cubicBezTo>
                <a:cubicBezTo>
                  <a:pt x="22" y="123"/>
                  <a:pt x="0" y="128"/>
                  <a:pt x="17" y="143"/>
                </a:cubicBezTo>
                <a:cubicBezTo>
                  <a:pt x="15" y="148"/>
                  <a:pt x="12" y="155"/>
                  <a:pt x="12" y="164"/>
                </a:cubicBezTo>
                <a:cubicBezTo>
                  <a:pt x="12" y="179"/>
                  <a:pt x="13" y="200"/>
                  <a:pt x="8" y="227"/>
                </a:cubicBezTo>
                <a:cubicBezTo>
                  <a:pt x="5" y="242"/>
                  <a:pt x="3" y="251"/>
                  <a:pt x="4" y="258"/>
                </a:cubicBezTo>
                <a:lnTo>
                  <a:pt x="129" y="258"/>
                </a:ln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Freeform 18"/>
          <p:cNvSpPr>
            <a:spLocks/>
          </p:cNvSpPr>
          <p:nvPr userDrawn="1"/>
        </p:nvSpPr>
        <p:spPr bwMode="auto">
          <a:xfrm>
            <a:off x="10377735" y="5435366"/>
            <a:ext cx="1214318" cy="1428070"/>
          </a:xfrm>
          <a:custGeom>
            <a:avLst/>
            <a:gdLst/>
            <a:ahLst/>
            <a:cxnLst>
              <a:cxn ang="0">
                <a:pos x="360" y="461"/>
              </a:cxn>
              <a:cxn ang="0">
                <a:pos x="384" y="394"/>
              </a:cxn>
              <a:cxn ang="0">
                <a:pos x="388" y="322"/>
              </a:cxn>
              <a:cxn ang="0">
                <a:pos x="371" y="283"/>
              </a:cxn>
              <a:cxn ang="0">
                <a:pos x="352" y="260"/>
              </a:cxn>
              <a:cxn ang="0">
                <a:pos x="346" y="248"/>
              </a:cxn>
              <a:cxn ang="0">
                <a:pos x="330" y="227"/>
              </a:cxn>
              <a:cxn ang="0">
                <a:pos x="320" y="198"/>
              </a:cxn>
              <a:cxn ang="0">
                <a:pos x="295" y="180"/>
              </a:cxn>
              <a:cxn ang="0">
                <a:pos x="256" y="178"/>
              </a:cxn>
              <a:cxn ang="0">
                <a:pos x="226" y="174"/>
              </a:cxn>
              <a:cxn ang="0">
                <a:pos x="223" y="167"/>
              </a:cxn>
              <a:cxn ang="0">
                <a:pos x="231" y="152"/>
              </a:cxn>
              <a:cxn ang="0">
                <a:pos x="237" y="126"/>
              </a:cxn>
              <a:cxn ang="0">
                <a:pos x="237" y="96"/>
              </a:cxn>
              <a:cxn ang="0">
                <a:pos x="237" y="86"/>
              </a:cxn>
              <a:cxn ang="0">
                <a:pos x="237" y="86"/>
              </a:cxn>
              <a:cxn ang="0">
                <a:pos x="237" y="85"/>
              </a:cxn>
              <a:cxn ang="0">
                <a:pos x="237" y="85"/>
              </a:cxn>
              <a:cxn ang="0">
                <a:pos x="237" y="85"/>
              </a:cxn>
              <a:cxn ang="0">
                <a:pos x="240" y="70"/>
              </a:cxn>
              <a:cxn ang="0">
                <a:pos x="232" y="24"/>
              </a:cxn>
              <a:cxn ang="0">
                <a:pos x="165" y="1"/>
              </a:cxn>
              <a:cxn ang="0">
                <a:pos x="107" y="53"/>
              </a:cxn>
              <a:cxn ang="0">
                <a:pos x="112" y="87"/>
              </a:cxn>
              <a:cxn ang="0">
                <a:pos x="112" y="87"/>
              </a:cxn>
              <a:cxn ang="0">
                <a:pos x="112" y="87"/>
              </a:cxn>
              <a:cxn ang="0">
                <a:pos x="112" y="87"/>
              </a:cxn>
              <a:cxn ang="0">
                <a:pos x="112" y="87"/>
              </a:cxn>
              <a:cxn ang="0">
                <a:pos x="112" y="87"/>
              </a:cxn>
              <a:cxn ang="0">
                <a:pos x="108" y="91"/>
              </a:cxn>
              <a:cxn ang="0">
                <a:pos x="122" y="129"/>
              </a:cxn>
              <a:cxn ang="0">
                <a:pos x="122" y="129"/>
              </a:cxn>
              <a:cxn ang="0">
                <a:pos x="122" y="130"/>
              </a:cxn>
              <a:cxn ang="0">
                <a:pos x="126" y="133"/>
              </a:cxn>
              <a:cxn ang="0">
                <a:pos x="126" y="134"/>
              </a:cxn>
              <a:cxn ang="0">
                <a:pos x="129" y="137"/>
              </a:cxn>
              <a:cxn ang="0">
                <a:pos x="130" y="138"/>
              </a:cxn>
              <a:cxn ang="0">
                <a:pos x="131" y="139"/>
              </a:cxn>
              <a:cxn ang="0">
                <a:pos x="131" y="140"/>
              </a:cxn>
              <a:cxn ang="0">
                <a:pos x="132" y="141"/>
              </a:cxn>
              <a:cxn ang="0">
                <a:pos x="132" y="142"/>
              </a:cxn>
              <a:cxn ang="0">
                <a:pos x="133" y="143"/>
              </a:cxn>
              <a:cxn ang="0">
                <a:pos x="133" y="144"/>
              </a:cxn>
              <a:cxn ang="0">
                <a:pos x="136" y="162"/>
              </a:cxn>
              <a:cxn ang="0">
                <a:pos x="129" y="170"/>
              </a:cxn>
              <a:cxn ang="0">
                <a:pos x="116" y="185"/>
              </a:cxn>
              <a:cxn ang="0">
                <a:pos x="88" y="198"/>
              </a:cxn>
              <a:cxn ang="0">
                <a:pos x="20" y="221"/>
              </a:cxn>
              <a:cxn ang="0">
                <a:pos x="2" y="371"/>
              </a:cxn>
              <a:cxn ang="0">
                <a:pos x="1" y="461"/>
              </a:cxn>
              <a:cxn ang="0">
                <a:pos x="360" y="461"/>
              </a:cxn>
            </a:cxnLst>
            <a:rect l="0" t="0" r="r" b="b"/>
            <a:pathLst>
              <a:path w="392" h="461">
                <a:moveTo>
                  <a:pt x="360" y="461"/>
                </a:moveTo>
                <a:cubicBezTo>
                  <a:pt x="365" y="448"/>
                  <a:pt x="380" y="409"/>
                  <a:pt x="384" y="394"/>
                </a:cubicBezTo>
                <a:cubicBezTo>
                  <a:pt x="388" y="376"/>
                  <a:pt x="392" y="350"/>
                  <a:pt x="388" y="322"/>
                </a:cubicBezTo>
                <a:cubicBezTo>
                  <a:pt x="384" y="295"/>
                  <a:pt x="377" y="287"/>
                  <a:pt x="371" y="283"/>
                </a:cubicBezTo>
                <a:cubicBezTo>
                  <a:pt x="365" y="279"/>
                  <a:pt x="355" y="269"/>
                  <a:pt x="352" y="260"/>
                </a:cubicBezTo>
                <a:cubicBezTo>
                  <a:pt x="349" y="251"/>
                  <a:pt x="345" y="251"/>
                  <a:pt x="346" y="248"/>
                </a:cubicBezTo>
                <a:cubicBezTo>
                  <a:pt x="346" y="245"/>
                  <a:pt x="333" y="231"/>
                  <a:pt x="330" y="227"/>
                </a:cubicBezTo>
                <a:cubicBezTo>
                  <a:pt x="327" y="224"/>
                  <a:pt x="329" y="219"/>
                  <a:pt x="320" y="198"/>
                </a:cubicBezTo>
                <a:cubicBezTo>
                  <a:pt x="310" y="178"/>
                  <a:pt x="295" y="180"/>
                  <a:pt x="295" y="180"/>
                </a:cubicBezTo>
                <a:cubicBezTo>
                  <a:pt x="295" y="180"/>
                  <a:pt x="264" y="180"/>
                  <a:pt x="256" y="178"/>
                </a:cubicBezTo>
                <a:cubicBezTo>
                  <a:pt x="247" y="175"/>
                  <a:pt x="226" y="174"/>
                  <a:pt x="226" y="174"/>
                </a:cubicBezTo>
                <a:cubicBezTo>
                  <a:pt x="223" y="167"/>
                  <a:pt x="223" y="167"/>
                  <a:pt x="223" y="167"/>
                </a:cubicBezTo>
                <a:cubicBezTo>
                  <a:pt x="223" y="167"/>
                  <a:pt x="226" y="161"/>
                  <a:pt x="231" y="152"/>
                </a:cubicBezTo>
                <a:cubicBezTo>
                  <a:pt x="235" y="144"/>
                  <a:pt x="236" y="137"/>
                  <a:pt x="237" y="126"/>
                </a:cubicBezTo>
                <a:cubicBezTo>
                  <a:pt x="239" y="115"/>
                  <a:pt x="239" y="101"/>
                  <a:pt x="237" y="96"/>
                </a:cubicBezTo>
                <a:cubicBezTo>
                  <a:pt x="235" y="92"/>
                  <a:pt x="236" y="88"/>
                  <a:pt x="237" y="86"/>
                </a:cubicBezTo>
                <a:cubicBezTo>
                  <a:pt x="237" y="86"/>
                  <a:pt x="237" y="86"/>
                  <a:pt x="237" y="86"/>
                </a:cubicBezTo>
                <a:cubicBezTo>
                  <a:pt x="237" y="86"/>
                  <a:pt x="237" y="85"/>
                  <a:pt x="237" y="85"/>
                </a:cubicBezTo>
                <a:cubicBezTo>
                  <a:pt x="237" y="85"/>
                  <a:pt x="237" y="85"/>
                  <a:pt x="237" y="85"/>
                </a:cubicBezTo>
                <a:cubicBezTo>
                  <a:pt x="237" y="85"/>
                  <a:pt x="237" y="85"/>
                  <a:pt x="237" y="85"/>
                </a:cubicBezTo>
                <a:cubicBezTo>
                  <a:pt x="237" y="85"/>
                  <a:pt x="239" y="85"/>
                  <a:pt x="240" y="70"/>
                </a:cubicBezTo>
                <a:cubicBezTo>
                  <a:pt x="240" y="55"/>
                  <a:pt x="238" y="36"/>
                  <a:pt x="232" y="24"/>
                </a:cubicBezTo>
                <a:cubicBezTo>
                  <a:pt x="226" y="12"/>
                  <a:pt x="210" y="0"/>
                  <a:pt x="165" y="1"/>
                </a:cubicBezTo>
                <a:cubicBezTo>
                  <a:pt x="120" y="3"/>
                  <a:pt x="109" y="38"/>
                  <a:pt x="107" y="53"/>
                </a:cubicBezTo>
                <a:cubicBezTo>
                  <a:pt x="106" y="69"/>
                  <a:pt x="112" y="87"/>
                  <a:pt x="112" y="87"/>
                </a:cubicBezTo>
                <a:cubicBezTo>
                  <a:pt x="112" y="87"/>
                  <a:pt x="112" y="87"/>
                  <a:pt x="112" y="87"/>
                </a:cubicBezTo>
                <a:cubicBezTo>
                  <a:pt x="112" y="87"/>
                  <a:pt x="112" y="87"/>
                  <a:pt x="112" y="87"/>
                </a:cubicBezTo>
                <a:cubicBezTo>
                  <a:pt x="112" y="87"/>
                  <a:pt x="112" y="87"/>
                  <a:pt x="112" y="87"/>
                </a:cubicBezTo>
                <a:cubicBezTo>
                  <a:pt x="112" y="87"/>
                  <a:pt x="112" y="87"/>
                  <a:pt x="112" y="87"/>
                </a:cubicBezTo>
                <a:cubicBezTo>
                  <a:pt x="112" y="87"/>
                  <a:pt x="112" y="87"/>
                  <a:pt x="112" y="87"/>
                </a:cubicBezTo>
                <a:cubicBezTo>
                  <a:pt x="111" y="87"/>
                  <a:pt x="109" y="87"/>
                  <a:pt x="108" y="91"/>
                </a:cubicBezTo>
                <a:cubicBezTo>
                  <a:pt x="102" y="104"/>
                  <a:pt x="113" y="119"/>
                  <a:pt x="122" y="129"/>
                </a:cubicBezTo>
                <a:cubicBezTo>
                  <a:pt x="122" y="129"/>
                  <a:pt x="122" y="129"/>
                  <a:pt x="122" y="129"/>
                </a:cubicBezTo>
                <a:cubicBezTo>
                  <a:pt x="122" y="129"/>
                  <a:pt x="122" y="129"/>
                  <a:pt x="122" y="130"/>
                </a:cubicBezTo>
                <a:cubicBezTo>
                  <a:pt x="124" y="131"/>
                  <a:pt x="125" y="132"/>
                  <a:pt x="126" y="133"/>
                </a:cubicBezTo>
                <a:cubicBezTo>
                  <a:pt x="126" y="133"/>
                  <a:pt x="126" y="133"/>
                  <a:pt x="126" y="134"/>
                </a:cubicBezTo>
                <a:cubicBezTo>
                  <a:pt x="127" y="135"/>
                  <a:pt x="128" y="136"/>
                  <a:pt x="129" y="137"/>
                </a:cubicBezTo>
                <a:cubicBezTo>
                  <a:pt x="130" y="137"/>
                  <a:pt x="130" y="138"/>
                  <a:pt x="130" y="138"/>
                </a:cubicBezTo>
                <a:cubicBezTo>
                  <a:pt x="130" y="138"/>
                  <a:pt x="131" y="138"/>
                  <a:pt x="131" y="139"/>
                </a:cubicBezTo>
                <a:cubicBezTo>
                  <a:pt x="131" y="139"/>
                  <a:pt x="131" y="139"/>
                  <a:pt x="131" y="140"/>
                </a:cubicBezTo>
                <a:cubicBezTo>
                  <a:pt x="131" y="140"/>
                  <a:pt x="132" y="140"/>
                  <a:pt x="132" y="141"/>
                </a:cubicBezTo>
                <a:cubicBezTo>
                  <a:pt x="132" y="141"/>
                  <a:pt x="132" y="142"/>
                  <a:pt x="132" y="142"/>
                </a:cubicBezTo>
                <a:cubicBezTo>
                  <a:pt x="132" y="142"/>
                  <a:pt x="132" y="143"/>
                  <a:pt x="133" y="143"/>
                </a:cubicBezTo>
                <a:cubicBezTo>
                  <a:pt x="133" y="143"/>
                  <a:pt x="133" y="144"/>
                  <a:pt x="133" y="144"/>
                </a:cubicBezTo>
                <a:cubicBezTo>
                  <a:pt x="135" y="152"/>
                  <a:pt x="136" y="162"/>
                  <a:pt x="136" y="162"/>
                </a:cubicBezTo>
                <a:cubicBezTo>
                  <a:pt x="136" y="162"/>
                  <a:pt x="132" y="165"/>
                  <a:pt x="129" y="170"/>
                </a:cubicBezTo>
                <a:cubicBezTo>
                  <a:pt x="126" y="175"/>
                  <a:pt x="116" y="185"/>
                  <a:pt x="116" y="185"/>
                </a:cubicBezTo>
                <a:cubicBezTo>
                  <a:pt x="116" y="185"/>
                  <a:pt x="104" y="191"/>
                  <a:pt x="88" y="198"/>
                </a:cubicBezTo>
                <a:cubicBezTo>
                  <a:pt x="72" y="206"/>
                  <a:pt x="26" y="214"/>
                  <a:pt x="20" y="221"/>
                </a:cubicBezTo>
                <a:cubicBezTo>
                  <a:pt x="15" y="228"/>
                  <a:pt x="7" y="303"/>
                  <a:pt x="2" y="371"/>
                </a:cubicBezTo>
                <a:cubicBezTo>
                  <a:pt x="0" y="405"/>
                  <a:pt x="0" y="435"/>
                  <a:pt x="1" y="461"/>
                </a:cubicBezTo>
                <a:lnTo>
                  <a:pt x="360" y="461"/>
                </a:lnTo>
                <a:close/>
              </a:path>
            </a:pathLst>
          </a:custGeom>
          <a:solidFill>
            <a:schemeClr val="bg2">
              <a:lumMod val="9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3" name="Freeform 21"/>
          <p:cNvSpPr>
            <a:spLocks/>
          </p:cNvSpPr>
          <p:nvPr userDrawn="1"/>
        </p:nvSpPr>
        <p:spPr bwMode="auto">
          <a:xfrm>
            <a:off x="11183888" y="5376356"/>
            <a:ext cx="790749" cy="1487080"/>
          </a:xfrm>
          <a:custGeom>
            <a:avLst/>
            <a:gdLst/>
            <a:ahLst/>
            <a:cxnLst>
              <a:cxn ang="0">
                <a:pos x="35" y="371"/>
              </a:cxn>
              <a:cxn ang="0">
                <a:pos x="31" y="411"/>
              </a:cxn>
              <a:cxn ang="0">
                <a:pos x="13" y="464"/>
              </a:cxn>
              <a:cxn ang="0">
                <a:pos x="35" y="468"/>
              </a:cxn>
              <a:cxn ang="0">
                <a:pos x="35" y="480"/>
              </a:cxn>
              <a:cxn ang="0">
                <a:pos x="222" y="480"/>
              </a:cxn>
              <a:cxn ang="0">
                <a:pos x="222" y="474"/>
              </a:cxn>
              <a:cxn ang="0">
                <a:pos x="235" y="472"/>
              </a:cxn>
              <a:cxn ang="0">
                <a:pos x="226" y="423"/>
              </a:cxn>
              <a:cxn ang="0">
                <a:pos x="219" y="357"/>
              </a:cxn>
              <a:cxn ang="0">
                <a:pos x="245" y="337"/>
              </a:cxn>
              <a:cxn ang="0">
                <a:pos x="252" y="271"/>
              </a:cxn>
              <a:cxn ang="0">
                <a:pos x="240" y="193"/>
              </a:cxn>
              <a:cxn ang="0">
                <a:pos x="203" y="172"/>
              </a:cxn>
              <a:cxn ang="0">
                <a:pos x="196" y="151"/>
              </a:cxn>
              <a:cxn ang="0">
                <a:pos x="183" y="111"/>
              </a:cxn>
              <a:cxn ang="0">
                <a:pos x="176" y="70"/>
              </a:cxn>
              <a:cxn ang="0">
                <a:pos x="168" y="41"/>
              </a:cxn>
              <a:cxn ang="0">
                <a:pos x="122" y="0"/>
              </a:cxn>
              <a:cxn ang="0">
                <a:pos x="122" y="0"/>
              </a:cxn>
              <a:cxn ang="0">
                <a:pos x="73" y="73"/>
              </a:cxn>
              <a:cxn ang="0">
                <a:pos x="72" y="115"/>
              </a:cxn>
              <a:cxn ang="0">
                <a:pos x="57" y="143"/>
              </a:cxn>
              <a:cxn ang="0">
                <a:pos x="55" y="165"/>
              </a:cxn>
              <a:cxn ang="0">
                <a:pos x="31" y="175"/>
              </a:cxn>
              <a:cxn ang="0">
                <a:pos x="8" y="232"/>
              </a:cxn>
              <a:cxn ang="0">
                <a:pos x="2" y="266"/>
              </a:cxn>
              <a:cxn ang="0">
                <a:pos x="2" y="344"/>
              </a:cxn>
              <a:cxn ang="0">
                <a:pos x="35" y="371"/>
              </a:cxn>
            </a:cxnLst>
            <a:rect l="0" t="0" r="r" b="b"/>
            <a:pathLst>
              <a:path w="255" h="480">
                <a:moveTo>
                  <a:pt x="35" y="371"/>
                </a:moveTo>
                <a:cubicBezTo>
                  <a:pt x="35" y="371"/>
                  <a:pt x="35" y="396"/>
                  <a:pt x="31" y="411"/>
                </a:cubicBezTo>
                <a:cubicBezTo>
                  <a:pt x="27" y="425"/>
                  <a:pt x="7" y="462"/>
                  <a:pt x="13" y="464"/>
                </a:cubicBezTo>
                <a:cubicBezTo>
                  <a:pt x="19" y="466"/>
                  <a:pt x="35" y="468"/>
                  <a:pt x="35" y="468"/>
                </a:cubicBezTo>
                <a:cubicBezTo>
                  <a:pt x="35" y="468"/>
                  <a:pt x="35" y="473"/>
                  <a:pt x="35" y="480"/>
                </a:cubicBezTo>
                <a:cubicBezTo>
                  <a:pt x="222" y="480"/>
                  <a:pt x="222" y="480"/>
                  <a:pt x="222" y="480"/>
                </a:cubicBezTo>
                <a:cubicBezTo>
                  <a:pt x="222" y="477"/>
                  <a:pt x="222" y="474"/>
                  <a:pt x="222" y="474"/>
                </a:cubicBezTo>
                <a:cubicBezTo>
                  <a:pt x="222" y="474"/>
                  <a:pt x="226" y="474"/>
                  <a:pt x="235" y="472"/>
                </a:cubicBezTo>
                <a:cubicBezTo>
                  <a:pt x="244" y="471"/>
                  <a:pt x="236" y="454"/>
                  <a:pt x="226" y="423"/>
                </a:cubicBezTo>
                <a:cubicBezTo>
                  <a:pt x="216" y="392"/>
                  <a:pt x="219" y="357"/>
                  <a:pt x="219" y="357"/>
                </a:cubicBezTo>
                <a:cubicBezTo>
                  <a:pt x="219" y="357"/>
                  <a:pt x="236" y="354"/>
                  <a:pt x="245" y="337"/>
                </a:cubicBezTo>
                <a:cubicBezTo>
                  <a:pt x="253" y="320"/>
                  <a:pt x="255" y="294"/>
                  <a:pt x="252" y="271"/>
                </a:cubicBezTo>
                <a:cubicBezTo>
                  <a:pt x="249" y="248"/>
                  <a:pt x="248" y="214"/>
                  <a:pt x="240" y="193"/>
                </a:cubicBezTo>
                <a:cubicBezTo>
                  <a:pt x="233" y="173"/>
                  <a:pt x="203" y="172"/>
                  <a:pt x="203" y="172"/>
                </a:cubicBezTo>
                <a:cubicBezTo>
                  <a:pt x="203" y="172"/>
                  <a:pt x="205" y="162"/>
                  <a:pt x="196" y="151"/>
                </a:cubicBezTo>
                <a:cubicBezTo>
                  <a:pt x="187" y="141"/>
                  <a:pt x="185" y="129"/>
                  <a:pt x="183" y="111"/>
                </a:cubicBezTo>
                <a:cubicBezTo>
                  <a:pt x="181" y="93"/>
                  <a:pt x="176" y="82"/>
                  <a:pt x="176" y="70"/>
                </a:cubicBezTo>
                <a:cubicBezTo>
                  <a:pt x="176" y="59"/>
                  <a:pt x="173" y="61"/>
                  <a:pt x="168" y="41"/>
                </a:cubicBezTo>
                <a:cubicBezTo>
                  <a:pt x="164" y="21"/>
                  <a:pt x="145" y="0"/>
                  <a:pt x="122" y="0"/>
                </a:cubicBezTo>
                <a:cubicBezTo>
                  <a:pt x="122" y="0"/>
                  <a:pt x="122" y="0"/>
                  <a:pt x="122" y="0"/>
                </a:cubicBezTo>
                <a:cubicBezTo>
                  <a:pt x="85" y="0"/>
                  <a:pt x="76" y="55"/>
                  <a:pt x="73" y="73"/>
                </a:cubicBezTo>
                <a:cubicBezTo>
                  <a:pt x="70" y="90"/>
                  <a:pt x="66" y="101"/>
                  <a:pt x="72" y="115"/>
                </a:cubicBezTo>
                <a:cubicBezTo>
                  <a:pt x="77" y="128"/>
                  <a:pt x="70" y="132"/>
                  <a:pt x="57" y="143"/>
                </a:cubicBezTo>
                <a:cubicBezTo>
                  <a:pt x="44" y="153"/>
                  <a:pt x="55" y="165"/>
                  <a:pt x="55" y="165"/>
                </a:cubicBezTo>
                <a:cubicBezTo>
                  <a:pt x="55" y="165"/>
                  <a:pt x="42" y="173"/>
                  <a:pt x="31" y="175"/>
                </a:cubicBezTo>
                <a:cubicBezTo>
                  <a:pt x="21" y="177"/>
                  <a:pt x="10" y="212"/>
                  <a:pt x="8" y="232"/>
                </a:cubicBezTo>
                <a:cubicBezTo>
                  <a:pt x="6" y="252"/>
                  <a:pt x="5" y="251"/>
                  <a:pt x="2" y="266"/>
                </a:cubicBezTo>
                <a:cubicBezTo>
                  <a:pt x="0" y="281"/>
                  <a:pt x="1" y="318"/>
                  <a:pt x="2" y="344"/>
                </a:cubicBezTo>
                <a:cubicBezTo>
                  <a:pt x="4" y="370"/>
                  <a:pt x="35" y="371"/>
                  <a:pt x="35" y="371"/>
                </a:cubicBezTo>
                <a:close/>
              </a:path>
            </a:pathLst>
          </a:custGeom>
          <a:solidFill>
            <a:srgbClr val="F5F5F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22"/>
          <p:cNvSpPr>
            <a:spLocks/>
          </p:cNvSpPr>
          <p:nvPr userDrawn="1"/>
        </p:nvSpPr>
        <p:spPr bwMode="auto">
          <a:xfrm>
            <a:off x="11393373" y="6122518"/>
            <a:ext cx="780258" cy="740918"/>
          </a:xfrm>
          <a:custGeom>
            <a:avLst/>
            <a:gdLst/>
            <a:ahLst/>
            <a:cxnLst>
              <a:cxn ang="0">
                <a:pos x="252" y="239"/>
              </a:cxn>
              <a:cxn ang="0">
                <a:pos x="214" y="200"/>
              </a:cxn>
              <a:cxn ang="0">
                <a:pos x="167" y="169"/>
              </a:cxn>
              <a:cxn ang="0">
                <a:pos x="172" y="157"/>
              </a:cxn>
              <a:cxn ang="0">
                <a:pos x="182" y="136"/>
              </a:cxn>
              <a:cxn ang="0">
                <a:pos x="187" y="130"/>
              </a:cxn>
              <a:cxn ang="0">
                <a:pos x="191" y="97"/>
              </a:cxn>
              <a:cxn ang="0">
                <a:pos x="188" y="92"/>
              </a:cxn>
              <a:cxn ang="0">
                <a:pos x="184" y="37"/>
              </a:cxn>
              <a:cxn ang="0">
                <a:pos x="138" y="0"/>
              </a:cxn>
              <a:cxn ang="0">
                <a:pos x="73" y="23"/>
              </a:cxn>
              <a:cxn ang="0">
                <a:pos x="57" y="68"/>
              </a:cxn>
              <a:cxn ang="0">
                <a:pos x="63" y="93"/>
              </a:cxn>
              <a:cxn ang="0">
                <a:pos x="61" y="107"/>
              </a:cxn>
              <a:cxn ang="0">
                <a:pos x="78" y="133"/>
              </a:cxn>
              <a:cxn ang="0">
                <a:pos x="83" y="148"/>
              </a:cxn>
              <a:cxn ang="0">
                <a:pos x="83" y="149"/>
              </a:cxn>
              <a:cxn ang="0">
                <a:pos x="83" y="149"/>
              </a:cxn>
              <a:cxn ang="0">
                <a:pos x="82" y="150"/>
              </a:cxn>
              <a:cxn ang="0">
                <a:pos x="82" y="151"/>
              </a:cxn>
              <a:cxn ang="0">
                <a:pos x="82" y="152"/>
              </a:cxn>
              <a:cxn ang="0">
                <a:pos x="82" y="152"/>
              </a:cxn>
              <a:cxn ang="0">
                <a:pos x="81" y="154"/>
              </a:cxn>
              <a:cxn ang="0">
                <a:pos x="81" y="154"/>
              </a:cxn>
              <a:cxn ang="0">
                <a:pos x="81" y="156"/>
              </a:cxn>
              <a:cxn ang="0">
                <a:pos x="80" y="157"/>
              </a:cxn>
              <a:cxn ang="0">
                <a:pos x="80" y="159"/>
              </a:cxn>
              <a:cxn ang="0">
                <a:pos x="80" y="159"/>
              </a:cxn>
              <a:cxn ang="0">
                <a:pos x="79" y="161"/>
              </a:cxn>
              <a:cxn ang="0">
                <a:pos x="79" y="162"/>
              </a:cxn>
              <a:cxn ang="0">
                <a:pos x="77" y="166"/>
              </a:cxn>
              <a:cxn ang="0">
                <a:pos x="77" y="166"/>
              </a:cxn>
              <a:cxn ang="0">
                <a:pos x="76" y="169"/>
              </a:cxn>
              <a:cxn ang="0">
                <a:pos x="76" y="169"/>
              </a:cxn>
              <a:cxn ang="0">
                <a:pos x="75" y="171"/>
              </a:cxn>
              <a:cxn ang="0">
                <a:pos x="75" y="171"/>
              </a:cxn>
              <a:cxn ang="0">
                <a:pos x="74" y="174"/>
              </a:cxn>
              <a:cxn ang="0">
                <a:pos x="74" y="175"/>
              </a:cxn>
              <a:cxn ang="0">
                <a:pos x="73" y="176"/>
              </a:cxn>
              <a:cxn ang="0">
                <a:pos x="73" y="176"/>
              </a:cxn>
              <a:cxn ang="0">
                <a:pos x="73" y="177"/>
              </a:cxn>
              <a:cxn ang="0">
                <a:pos x="34" y="187"/>
              </a:cxn>
              <a:cxn ang="0">
                <a:pos x="25" y="208"/>
              </a:cxn>
              <a:cxn ang="0">
                <a:pos x="0" y="239"/>
              </a:cxn>
              <a:cxn ang="0">
                <a:pos x="252" y="239"/>
              </a:cxn>
            </a:cxnLst>
            <a:rect l="0" t="0" r="r" b="b"/>
            <a:pathLst>
              <a:path w="252" h="239">
                <a:moveTo>
                  <a:pt x="252" y="239"/>
                </a:moveTo>
                <a:cubicBezTo>
                  <a:pt x="240" y="223"/>
                  <a:pt x="226" y="209"/>
                  <a:pt x="214" y="200"/>
                </a:cubicBezTo>
                <a:cubicBezTo>
                  <a:pt x="192" y="183"/>
                  <a:pt x="167" y="169"/>
                  <a:pt x="167" y="169"/>
                </a:cubicBezTo>
                <a:cubicBezTo>
                  <a:pt x="167" y="169"/>
                  <a:pt x="166" y="163"/>
                  <a:pt x="172" y="157"/>
                </a:cubicBezTo>
                <a:cubicBezTo>
                  <a:pt x="179" y="152"/>
                  <a:pt x="182" y="136"/>
                  <a:pt x="182" y="136"/>
                </a:cubicBezTo>
                <a:cubicBezTo>
                  <a:pt x="182" y="136"/>
                  <a:pt x="185" y="135"/>
                  <a:pt x="187" y="130"/>
                </a:cubicBezTo>
                <a:cubicBezTo>
                  <a:pt x="189" y="125"/>
                  <a:pt x="192" y="100"/>
                  <a:pt x="191" y="97"/>
                </a:cubicBezTo>
                <a:cubicBezTo>
                  <a:pt x="191" y="94"/>
                  <a:pt x="188" y="92"/>
                  <a:pt x="188" y="92"/>
                </a:cubicBezTo>
                <a:cubicBezTo>
                  <a:pt x="188" y="92"/>
                  <a:pt x="193" y="58"/>
                  <a:pt x="184" y="37"/>
                </a:cubicBezTo>
                <a:cubicBezTo>
                  <a:pt x="176" y="16"/>
                  <a:pt x="156" y="0"/>
                  <a:pt x="138" y="0"/>
                </a:cubicBezTo>
                <a:cubicBezTo>
                  <a:pt x="120" y="0"/>
                  <a:pt x="89" y="6"/>
                  <a:pt x="73" y="23"/>
                </a:cubicBezTo>
                <a:cubicBezTo>
                  <a:pt x="57" y="40"/>
                  <a:pt x="56" y="57"/>
                  <a:pt x="57" y="68"/>
                </a:cubicBezTo>
                <a:cubicBezTo>
                  <a:pt x="58" y="79"/>
                  <a:pt x="63" y="93"/>
                  <a:pt x="63" y="93"/>
                </a:cubicBezTo>
                <a:cubicBezTo>
                  <a:pt x="63" y="93"/>
                  <a:pt x="57" y="96"/>
                  <a:pt x="61" y="107"/>
                </a:cubicBezTo>
                <a:cubicBezTo>
                  <a:pt x="64" y="116"/>
                  <a:pt x="66" y="131"/>
                  <a:pt x="78" y="133"/>
                </a:cubicBezTo>
                <a:cubicBezTo>
                  <a:pt x="78" y="133"/>
                  <a:pt x="83" y="143"/>
                  <a:pt x="83" y="148"/>
                </a:cubicBezTo>
                <a:cubicBezTo>
                  <a:pt x="83" y="148"/>
                  <a:pt x="83" y="148"/>
                  <a:pt x="83" y="149"/>
                </a:cubicBezTo>
                <a:cubicBezTo>
                  <a:pt x="83" y="149"/>
                  <a:pt x="83" y="149"/>
                  <a:pt x="83" y="149"/>
                </a:cubicBezTo>
                <a:cubicBezTo>
                  <a:pt x="83" y="149"/>
                  <a:pt x="83" y="150"/>
                  <a:pt x="82" y="150"/>
                </a:cubicBezTo>
                <a:cubicBezTo>
                  <a:pt x="82" y="150"/>
                  <a:pt x="82" y="150"/>
                  <a:pt x="82" y="151"/>
                </a:cubicBezTo>
                <a:cubicBezTo>
                  <a:pt x="82" y="151"/>
                  <a:pt x="82" y="151"/>
                  <a:pt x="82" y="152"/>
                </a:cubicBezTo>
                <a:cubicBezTo>
                  <a:pt x="82" y="152"/>
                  <a:pt x="82" y="152"/>
                  <a:pt x="82" y="152"/>
                </a:cubicBezTo>
                <a:cubicBezTo>
                  <a:pt x="82" y="153"/>
                  <a:pt x="81" y="153"/>
                  <a:pt x="81" y="154"/>
                </a:cubicBezTo>
                <a:cubicBezTo>
                  <a:pt x="81" y="154"/>
                  <a:pt x="81" y="154"/>
                  <a:pt x="81" y="154"/>
                </a:cubicBezTo>
                <a:cubicBezTo>
                  <a:pt x="81" y="155"/>
                  <a:pt x="81" y="156"/>
                  <a:pt x="81" y="156"/>
                </a:cubicBezTo>
                <a:cubicBezTo>
                  <a:pt x="80" y="156"/>
                  <a:pt x="80" y="157"/>
                  <a:pt x="80" y="157"/>
                </a:cubicBezTo>
                <a:cubicBezTo>
                  <a:pt x="80" y="157"/>
                  <a:pt x="80" y="158"/>
                  <a:pt x="80" y="159"/>
                </a:cubicBezTo>
                <a:cubicBezTo>
                  <a:pt x="80" y="159"/>
                  <a:pt x="80" y="159"/>
                  <a:pt x="80" y="159"/>
                </a:cubicBezTo>
                <a:cubicBezTo>
                  <a:pt x="79" y="160"/>
                  <a:pt x="79" y="161"/>
                  <a:pt x="79" y="161"/>
                </a:cubicBezTo>
                <a:cubicBezTo>
                  <a:pt x="79" y="161"/>
                  <a:pt x="79" y="161"/>
                  <a:pt x="79" y="162"/>
                </a:cubicBezTo>
                <a:cubicBezTo>
                  <a:pt x="78" y="163"/>
                  <a:pt x="77" y="165"/>
                  <a:pt x="77" y="166"/>
                </a:cubicBezTo>
                <a:cubicBezTo>
                  <a:pt x="77" y="166"/>
                  <a:pt x="77" y="166"/>
                  <a:pt x="77" y="166"/>
                </a:cubicBezTo>
                <a:cubicBezTo>
                  <a:pt x="77" y="167"/>
                  <a:pt x="76" y="168"/>
                  <a:pt x="76" y="169"/>
                </a:cubicBezTo>
                <a:cubicBezTo>
                  <a:pt x="76" y="169"/>
                  <a:pt x="76" y="169"/>
                  <a:pt x="76" y="169"/>
                </a:cubicBezTo>
                <a:cubicBezTo>
                  <a:pt x="76" y="170"/>
                  <a:pt x="75" y="170"/>
                  <a:pt x="75" y="171"/>
                </a:cubicBezTo>
                <a:cubicBezTo>
                  <a:pt x="75" y="171"/>
                  <a:pt x="75" y="171"/>
                  <a:pt x="75" y="171"/>
                </a:cubicBezTo>
                <a:cubicBezTo>
                  <a:pt x="74" y="172"/>
                  <a:pt x="74" y="174"/>
                  <a:pt x="74" y="174"/>
                </a:cubicBezTo>
                <a:cubicBezTo>
                  <a:pt x="74" y="175"/>
                  <a:pt x="74" y="175"/>
                  <a:pt x="74" y="175"/>
                </a:cubicBezTo>
                <a:cubicBezTo>
                  <a:pt x="73" y="175"/>
                  <a:pt x="73" y="175"/>
                  <a:pt x="73" y="176"/>
                </a:cubicBezTo>
                <a:cubicBezTo>
                  <a:pt x="73" y="176"/>
                  <a:pt x="73" y="176"/>
                  <a:pt x="73" y="176"/>
                </a:cubicBezTo>
                <a:cubicBezTo>
                  <a:pt x="73" y="176"/>
                  <a:pt x="73" y="177"/>
                  <a:pt x="73" y="177"/>
                </a:cubicBezTo>
                <a:cubicBezTo>
                  <a:pt x="73" y="177"/>
                  <a:pt x="39" y="185"/>
                  <a:pt x="34" y="187"/>
                </a:cubicBezTo>
                <a:cubicBezTo>
                  <a:pt x="30" y="190"/>
                  <a:pt x="25" y="208"/>
                  <a:pt x="25" y="208"/>
                </a:cubicBezTo>
                <a:cubicBezTo>
                  <a:pt x="25" y="208"/>
                  <a:pt x="11" y="223"/>
                  <a:pt x="0" y="239"/>
                </a:cubicBezTo>
                <a:lnTo>
                  <a:pt x="252" y="239"/>
                </a:ln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5" name="Freeform 24"/>
          <p:cNvSpPr>
            <a:spLocks/>
          </p:cNvSpPr>
          <p:nvPr userDrawn="1"/>
        </p:nvSpPr>
        <p:spPr bwMode="auto">
          <a:xfrm>
            <a:off x="9931865" y="6119895"/>
            <a:ext cx="942867" cy="743541"/>
          </a:xfrm>
          <a:custGeom>
            <a:avLst/>
            <a:gdLst/>
            <a:ahLst/>
            <a:cxnLst>
              <a:cxn ang="0">
                <a:pos x="8" y="236"/>
              </a:cxn>
              <a:cxn ang="0">
                <a:pos x="216" y="240"/>
              </a:cxn>
              <a:cxn ang="0">
                <a:pos x="237" y="215"/>
              </a:cxn>
              <a:cxn ang="0">
                <a:pos x="243" y="218"/>
              </a:cxn>
              <a:cxn ang="0">
                <a:pos x="246" y="219"/>
              </a:cxn>
              <a:cxn ang="0">
                <a:pos x="253" y="220"/>
              </a:cxn>
              <a:cxn ang="0">
                <a:pos x="251" y="231"/>
              </a:cxn>
              <a:cxn ang="0">
                <a:pos x="248" y="240"/>
              </a:cxn>
              <a:cxn ang="0">
                <a:pos x="303" y="219"/>
              </a:cxn>
              <a:cxn ang="0">
                <a:pos x="304" y="211"/>
              </a:cxn>
              <a:cxn ang="0">
                <a:pos x="299" y="201"/>
              </a:cxn>
              <a:cxn ang="0">
                <a:pos x="290" y="183"/>
              </a:cxn>
              <a:cxn ang="0">
                <a:pos x="259" y="151"/>
              </a:cxn>
              <a:cxn ang="0">
                <a:pos x="236" y="129"/>
              </a:cxn>
              <a:cxn ang="0">
                <a:pos x="197" y="118"/>
              </a:cxn>
              <a:cxn ang="0">
                <a:pos x="190" y="117"/>
              </a:cxn>
              <a:cxn ang="0">
                <a:pos x="182" y="116"/>
              </a:cxn>
              <a:cxn ang="0">
                <a:pos x="170" y="105"/>
              </a:cxn>
              <a:cxn ang="0">
                <a:pos x="169" y="103"/>
              </a:cxn>
              <a:cxn ang="0">
                <a:pos x="168" y="103"/>
              </a:cxn>
              <a:cxn ang="0">
                <a:pos x="169" y="96"/>
              </a:cxn>
              <a:cxn ang="0">
                <a:pos x="176" y="88"/>
              </a:cxn>
              <a:cxn ang="0">
                <a:pos x="180" y="63"/>
              </a:cxn>
              <a:cxn ang="0">
                <a:pos x="101" y="32"/>
              </a:cxn>
              <a:cxn ang="0">
                <a:pos x="103" y="61"/>
              </a:cxn>
              <a:cxn ang="0">
                <a:pos x="102" y="61"/>
              </a:cxn>
              <a:cxn ang="0">
                <a:pos x="101" y="81"/>
              </a:cxn>
              <a:cxn ang="0">
                <a:pos x="111" y="95"/>
              </a:cxn>
              <a:cxn ang="0">
                <a:pos x="103" y="105"/>
              </a:cxn>
              <a:cxn ang="0">
                <a:pos x="79" y="115"/>
              </a:cxn>
              <a:cxn ang="0">
                <a:pos x="14" y="179"/>
              </a:cxn>
              <a:cxn ang="0">
                <a:pos x="14" y="181"/>
              </a:cxn>
              <a:cxn ang="0">
                <a:pos x="15" y="185"/>
              </a:cxn>
              <a:cxn ang="0">
                <a:pos x="11" y="186"/>
              </a:cxn>
              <a:cxn ang="0">
                <a:pos x="8" y="190"/>
              </a:cxn>
              <a:cxn ang="0">
                <a:pos x="9" y="196"/>
              </a:cxn>
              <a:cxn ang="0">
                <a:pos x="8" y="198"/>
              </a:cxn>
              <a:cxn ang="0">
                <a:pos x="6" y="202"/>
              </a:cxn>
              <a:cxn ang="0">
                <a:pos x="1" y="210"/>
              </a:cxn>
              <a:cxn ang="0">
                <a:pos x="4" y="223"/>
              </a:cxn>
            </a:cxnLst>
            <a:rect l="0" t="0" r="r" b="b"/>
            <a:pathLst>
              <a:path w="304" h="240">
                <a:moveTo>
                  <a:pt x="4" y="223"/>
                </a:moveTo>
                <a:cubicBezTo>
                  <a:pt x="4" y="230"/>
                  <a:pt x="8" y="236"/>
                  <a:pt x="8" y="236"/>
                </a:cubicBezTo>
                <a:cubicBezTo>
                  <a:pt x="8" y="237"/>
                  <a:pt x="8" y="238"/>
                  <a:pt x="8" y="240"/>
                </a:cubicBezTo>
                <a:cubicBezTo>
                  <a:pt x="216" y="240"/>
                  <a:pt x="216" y="240"/>
                  <a:pt x="216" y="240"/>
                </a:cubicBezTo>
                <a:cubicBezTo>
                  <a:pt x="220" y="223"/>
                  <a:pt x="224" y="207"/>
                  <a:pt x="225" y="204"/>
                </a:cubicBezTo>
                <a:cubicBezTo>
                  <a:pt x="227" y="206"/>
                  <a:pt x="236" y="213"/>
                  <a:pt x="237" y="215"/>
                </a:cubicBezTo>
                <a:cubicBezTo>
                  <a:pt x="238" y="217"/>
                  <a:pt x="240" y="218"/>
                  <a:pt x="242" y="218"/>
                </a:cubicBezTo>
                <a:cubicBezTo>
                  <a:pt x="242" y="218"/>
                  <a:pt x="243" y="218"/>
                  <a:pt x="243" y="218"/>
                </a:cubicBezTo>
                <a:cubicBezTo>
                  <a:pt x="243" y="218"/>
                  <a:pt x="243" y="218"/>
                  <a:pt x="243" y="218"/>
                </a:cubicBezTo>
                <a:cubicBezTo>
                  <a:pt x="244" y="218"/>
                  <a:pt x="245" y="219"/>
                  <a:pt x="246" y="219"/>
                </a:cubicBezTo>
                <a:cubicBezTo>
                  <a:pt x="247" y="220"/>
                  <a:pt x="248" y="221"/>
                  <a:pt x="250" y="221"/>
                </a:cubicBezTo>
                <a:cubicBezTo>
                  <a:pt x="252" y="222"/>
                  <a:pt x="253" y="221"/>
                  <a:pt x="253" y="220"/>
                </a:cubicBezTo>
                <a:cubicBezTo>
                  <a:pt x="254" y="221"/>
                  <a:pt x="255" y="223"/>
                  <a:pt x="255" y="223"/>
                </a:cubicBezTo>
                <a:cubicBezTo>
                  <a:pt x="254" y="224"/>
                  <a:pt x="252" y="228"/>
                  <a:pt x="251" y="231"/>
                </a:cubicBezTo>
                <a:cubicBezTo>
                  <a:pt x="250" y="233"/>
                  <a:pt x="249" y="235"/>
                  <a:pt x="249" y="237"/>
                </a:cubicBezTo>
                <a:cubicBezTo>
                  <a:pt x="249" y="238"/>
                  <a:pt x="248" y="239"/>
                  <a:pt x="248" y="240"/>
                </a:cubicBezTo>
                <a:cubicBezTo>
                  <a:pt x="296" y="240"/>
                  <a:pt x="296" y="240"/>
                  <a:pt x="296" y="240"/>
                </a:cubicBezTo>
                <a:cubicBezTo>
                  <a:pt x="299" y="234"/>
                  <a:pt x="301" y="226"/>
                  <a:pt x="303" y="219"/>
                </a:cubicBezTo>
                <a:cubicBezTo>
                  <a:pt x="303" y="217"/>
                  <a:pt x="303" y="216"/>
                  <a:pt x="303" y="214"/>
                </a:cubicBezTo>
                <a:cubicBezTo>
                  <a:pt x="304" y="213"/>
                  <a:pt x="304" y="212"/>
                  <a:pt x="304" y="211"/>
                </a:cubicBezTo>
                <a:cubicBezTo>
                  <a:pt x="304" y="211"/>
                  <a:pt x="304" y="211"/>
                  <a:pt x="304" y="211"/>
                </a:cubicBezTo>
                <a:cubicBezTo>
                  <a:pt x="304" y="206"/>
                  <a:pt x="301" y="202"/>
                  <a:pt x="299" y="201"/>
                </a:cubicBezTo>
                <a:cubicBezTo>
                  <a:pt x="301" y="201"/>
                  <a:pt x="303" y="200"/>
                  <a:pt x="297" y="194"/>
                </a:cubicBezTo>
                <a:cubicBezTo>
                  <a:pt x="294" y="191"/>
                  <a:pt x="292" y="187"/>
                  <a:pt x="290" y="183"/>
                </a:cubicBezTo>
                <a:cubicBezTo>
                  <a:pt x="287" y="178"/>
                  <a:pt x="283" y="173"/>
                  <a:pt x="278" y="170"/>
                </a:cubicBezTo>
                <a:cubicBezTo>
                  <a:pt x="274" y="167"/>
                  <a:pt x="267" y="159"/>
                  <a:pt x="259" y="151"/>
                </a:cubicBezTo>
                <a:cubicBezTo>
                  <a:pt x="250" y="142"/>
                  <a:pt x="241" y="133"/>
                  <a:pt x="236" y="129"/>
                </a:cubicBezTo>
                <a:cubicBezTo>
                  <a:pt x="236" y="129"/>
                  <a:pt x="236" y="129"/>
                  <a:pt x="236" y="129"/>
                </a:cubicBezTo>
                <a:cubicBezTo>
                  <a:pt x="230" y="126"/>
                  <a:pt x="219" y="124"/>
                  <a:pt x="210" y="122"/>
                </a:cubicBezTo>
                <a:cubicBezTo>
                  <a:pt x="204" y="120"/>
                  <a:pt x="199" y="119"/>
                  <a:pt x="197" y="118"/>
                </a:cubicBezTo>
                <a:cubicBezTo>
                  <a:pt x="197" y="118"/>
                  <a:pt x="197" y="118"/>
                  <a:pt x="197" y="118"/>
                </a:cubicBezTo>
                <a:cubicBezTo>
                  <a:pt x="195" y="117"/>
                  <a:pt x="192" y="117"/>
                  <a:pt x="190" y="117"/>
                </a:cubicBezTo>
                <a:cubicBezTo>
                  <a:pt x="189" y="117"/>
                  <a:pt x="188" y="117"/>
                  <a:pt x="187" y="116"/>
                </a:cubicBezTo>
                <a:cubicBezTo>
                  <a:pt x="186" y="114"/>
                  <a:pt x="182" y="115"/>
                  <a:pt x="182" y="116"/>
                </a:cubicBezTo>
                <a:cubicBezTo>
                  <a:pt x="181" y="115"/>
                  <a:pt x="178" y="113"/>
                  <a:pt x="175" y="111"/>
                </a:cubicBezTo>
                <a:cubicBezTo>
                  <a:pt x="173" y="109"/>
                  <a:pt x="171" y="107"/>
                  <a:pt x="170" y="105"/>
                </a:cubicBezTo>
                <a:cubicBezTo>
                  <a:pt x="170" y="104"/>
                  <a:pt x="169" y="104"/>
                  <a:pt x="169" y="104"/>
                </a:cubicBezTo>
                <a:cubicBezTo>
                  <a:pt x="169" y="103"/>
                  <a:pt x="169" y="103"/>
                  <a:pt x="169" y="103"/>
                </a:cubicBezTo>
                <a:cubicBezTo>
                  <a:pt x="169" y="102"/>
                  <a:pt x="169" y="102"/>
                  <a:pt x="169" y="102"/>
                </a:cubicBezTo>
                <a:cubicBezTo>
                  <a:pt x="168" y="103"/>
                  <a:pt x="168" y="103"/>
                  <a:pt x="168" y="103"/>
                </a:cubicBezTo>
                <a:cubicBezTo>
                  <a:pt x="168" y="103"/>
                  <a:pt x="168" y="102"/>
                  <a:pt x="168" y="102"/>
                </a:cubicBezTo>
                <a:cubicBezTo>
                  <a:pt x="168" y="102"/>
                  <a:pt x="168" y="99"/>
                  <a:pt x="169" y="96"/>
                </a:cubicBezTo>
                <a:cubicBezTo>
                  <a:pt x="170" y="93"/>
                  <a:pt x="171" y="88"/>
                  <a:pt x="171" y="88"/>
                </a:cubicBezTo>
                <a:cubicBezTo>
                  <a:pt x="171" y="88"/>
                  <a:pt x="174" y="89"/>
                  <a:pt x="176" y="88"/>
                </a:cubicBezTo>
                <a:cubicBezTo>
                  <a:pt x="177" y="87"/>
                  <a:pt x="180" y="82"/>
                  <a:pt x="182" y="73"/>
                </a:cubicBezTo>
                <a:cubicBezTo>
                  <a:pt x="183" y="63"/>
                  <a:pt x="180" y="63"/>
                  <a:pt x="180" y="63"/>
                </a:cubicBezTo>
                <a:cubicBezTo>
                  <a:pt x="180" y="63"/>
                  <a:pt x="184" y="54"/>
                  <a:pt x="181" y="35"/>
                </a:cubicBezTo>
                <a:cubicBezTo>
                  <a:pt x="175" y="1"/>
                  <a:pt x="111" y="0"/>
                  <a:pt x="101" y="32"/>
                </a:cubicBezTo>
                <a:cubicBezTo>
                  <a:pt x="99" y="41"/>
                  <a:pt x="103" y="61"/>
                  <a:pt x="103" y="61"/>
                </a:cubicBezTo>
                <a:cubicBezTo>
                  <a:pt x="103" y="61"/>
                  <a:pt x="103" y="61"/>
                  <a:pt x="103" y="61"/>
                </a:cubicBezTo>
                <a:cubicBezTo>
                  <a:pt x="103" y="61"/>
                  <a:pt x="103" y="61"/>
                  <a:pt x="103" y="61"/>
                </a:cubicBezTo>
                <a:cubicBezTo>
                  <a:pt x="103" y="61"/>
                  <a:pt x="103" y="61"/>
                  <a:pt x="102" y="61"/>
                </a:cubicBezTo>
                <a:cubicBezTo>
                  <a:pt x="102" y="61"/>
                  <a:pt x="101" y="61"/>
                  <a:pt x="100" y="62"/>
                </a:cubicBezTo>
                <a:cubicBezTo>
                  <a:pt x="96" y="65"/>
                  <a:pt x="100" y="72"/>
                  <a:pt x="101" y="81"/>
                </a:cubicBezTo>
                <a:cubicBezTo>
                  <a:pt x="103" y="89"/>
                  <a:pt x="110" y="89"/>
                  <a:pt x="110" y="89"/>
                </a:cubicBezTo>
                <a:cubicBezTo>
                  <a:pt x="110" y="89"/>
                  <a:pt x="109" y="90"/>
                  <a:pt x="111" y="95"/>
                </a:cubicBezTo>
                <a:cubicBezTo>
                  <a:pt x="113" y="101"/>
                  <a:pt x="115" y="103"/>
                  <a:pt x="115" y="103"/>
                </a:cubicBezTo>
                <a:cubicBezTo>
                  <a:pt x="115" y="103"/>
                  <a:pt x="108" y="105"/>
                  <a:pt x="103" y="105"/>
                </a:cubicBezTo>
                <a:cubicBezTo>
                  <a:pt x="98" y="104"/>
                  <a:pt x="95" y="106"/>
                  <a:pt x="91" y="110"/>
                </a:cubicBezTo>
                <a:cubicBezTo>
                  <a:pt x="87" y="113"/>
                  <a:pt x="82" y="114"/>
                  <a:pt x="79" y="115"/>
                </a:cubicBezTo>
                <a:cubicBezTo>
                  <a:pt x="77" y="115"/>
                  <a:pt x="15" y="149"/>
                  <a:pt x="11" y="156"/>
                </a:cubicBezTo>
                <a:cubicBezTo>
                  <a:pt x="9" y="161"/>
                  <a:pt x="12" y="172"/>
                  <a:pt x="14" y="179"/>
                </a:cubicBezTo>
                <a:cubicBezTo>
                  <a:pt x="13" y="177"/>
                  <a:pt x="13" y="177"/>
                  <a:pt x="13" y="177"/>
                </a:cubicBezTo>
                <a:cubicBezTo>
                  <a:pt x="14" y="181"/>
                  <a:pt x="14" y="181"/>
                  <a:pt x="14" y="181"/>
                </a:cubicBezTo>
                <a:cubicBezTo>
                  <a:pt x="14" y="181"/>
                  <a:pt x="14" y="181"/>
                  <a:pt x="14" y="181"/>
                </a:cubicBezTo>
                <a:cubicBezTo>
                  <a:pt x="15" y="183"/>
                  <a:pt x="15" y="185"/>
                  <a:pt x="15" y="185"/>
                </a:cubicBezTo>
                <a:cubicBezTo>
                  <a:pt x="15" y="185"/>
                  <a:pt x="15" y="186"/>
                  <a:pt x="14" y="186"/>
                </a:cubicBezTo>
                <a:cubicBezTo>
                  <a:pt x="13" y="186"/>
                  <a:pt x="13" y="186"/>
                  <a:pt x="11" y="186"/>
                </a:cubicBezTo>
                <a:cubicBezTo>
                  <a:pt x="10" y="186"/>
                  <a:pt x="9" y="187"/>
                  <a:pt x="9" y="187"/>
                </a:cubicBezTo>
                <a:cubicBezTo>
                  <a:pt x="8" y="188"/>
                  <a:pt x="8" y="189"/>
                  <a:pt x="8" y="190"/>
                </a:cubicBezTo>
                <a:cubicBezTo>
                  <a:pt x="8" y="191"/>
                  <a:pt x="8" y="191"/>
                  <a:pt x="9" y="192"/>
                </a:cubicBezTo>
                <a:cubicBezTo>
                  <a:pt x="9" y="194"/>
                  <a:pt x="9" y="195"/>
                  <a:pt x="9" y="196"/>
                </a:cubicBezTo>
                <a:cubicBezTo>
                  <a:pt x="9" y="196"/>
                  <a:pt x="9" y="196"/>
                  <a:pt x="9" y="196"/>
                </a:cubicBezTo>
                <a:cubicBezTo>
                  <a:pt x="9" y="196"/>
                  <a:pt x="8" y="197"/>
                  <a:pt x="8" y="198"/>
                </a:cubicBezTo>
                <a:cubicBezTo>
                  <a:pt x="7" y="199"/>
                  <a:pt x="7" y="201"/>
                  <a:pt x="6" y="202"/>
                </a:cubicBezTo>
                <a:cubicBezTo>
                  <a:pt x="6" y="202"/>
                  <a:pt x="6" y="202"/>
                  <a:pt x="6" y="202"/>
                </a:cubicBezTo>
                <a:cubicBezTo>
                  <a:pt x="6" y="203"/>
                  <a:pt x="5" y="203"/>
                  <a:pt x="5" y="204"/>
                </a:cubicBezTo>
                <a:cubicBezTo>
                  <a:pt x="4" y="205"/>
                  <a:pt x="2" y="207"/>
                  <a:pt x="1" y="210"/>
                </a:cubicBezTo>
                <a:cubicBezTo>
                  <a:pt x="0" y="212"/>
                  <a:pt x="1" y="214"/>
                  <a:pt x="2" y="215"/>
                </a:cubicBezTo>
                <a:cubicBezTo>
                  <a:pt x="3" y="217"/>
                  <a:pt x="4" y="219"/>
                  <a:pt x="4" y="223"/>
                </a:cubicBez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4388329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4" imgW="360" imgH="360" progId="">
                  <p:embed/>
                </p:oleObj>
              </mc:Choice>
              <mc:Fallback>
                <p:oleObj name="think-cell Slide" r:id="rId4" imgW="360" imgH="360" progId="">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3937471" y="0"/>
            <a:ext cx="8254529"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Title 1"/>
          <p:cNvSpPr>
            <a:spLocks noGrp="1"/>
          </p:cNvSpPr>
          <p:nvPr>
            <p:ph type="ctrTitle" hasCustomPrompt="1"/>
          </p:nvPr>
        </p:nvSpPr>
        <p:spPr>
          <a:xfrm>
            <a:off x="5636871" y="362730"/>
            <a:ext cx="6278904"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lvl1pPr algn="r">
              <a:lnSpc>
                <a:spcPct val="100000"/>
              </a:lnSpc>
              <a:spcBef>
                <a:spcPts val="600"/>
              </a:spcBef>
              <a:defRPr lang="en-US" sz="4000" b="0" dirty="0">
                <a:solidFill>
                  <a:schemeClr val="bg1"/>
                </a:solidFill>
              </a:defRPr>
            </a:lvl1pPr>
          </a:lstStyle>
          <a:p>
            <a:pPr marL="0" lvl="0"/>
            <a:r>
              <a:rPr lang="en-US" dirty="0"/>
              <a:t>Click to insert title</a:t>
            </a:r>
          </a:p>
        </p:txBody>
      </p:sp>
    </p:spTree>
    <p:extLst>
      <p:ext uri="{BB962C8B-B14F-4D97-AF65-F5344CB8AC3E}">
        <p14:creationId xmlns:p14="http://schemas.microsoft.com/office/powerpoint/2010/main" val="232109028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1"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61" name="Freeform 9"/>
          <p:cNvSpPr>
            <a:spLocks/>
          </p:cNvSpPr>
          <p:nvPr userDrawn="1"/>
        </p:nvSpPr>
        <p:spPr bwMode="auto">
          <a:xfrm>
            <a:off x="0" y="0"/>
            <a:ext cx="3860800" cy="191700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1" y="1"/>
            <a:ext cx="3791999" cy="1413000"/>
          </a:xfrm>
          <a:prstGeom prst="rect">
            <a:avLst/>
          </a:prstGeom>
        </p:spPr>
        <p:txBody>
          <a:bodyPr/>
          <a:lstStyle>
            <a:lvl1pPr marL="228600" indent="0">
              <a:defRPr>
                <a:solidFill>
                  <a:schemeClr val="bg1"/>
                </a:solidFill>
              </a:defRPr>
            </a:lvl1pPr>
          </a:lstStyle>
          <a:p>
            <a:r>
              <a:rPr lang="fr-FR" dirty="0"/>
              <a:t>Modifiez le style du titre</a:t>
            </a:r>
            <a:endParaRPr lang="en-GB" dirty="0"/>
          </a:p>
        </p:txBody>
      </p:sp>
    </p:spTree>
    <p:extLst>
      <p:ext uri="{BB962C8B-B14F-4D97-AF65-F5344CB8AC3E}">
        <p14:creationId xmlns:p14="http://schemas.microsoft.com/office/powerpoint/2010/main" val="21482992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8" name="think-cell Slide" r:id="rId6" imgW="360" imgH="360" progId="">
                  <p:embed/>
                </p:oleObj>
              </mc:Choice>
              <mc:Fallback>
                <p:oleObj name="think-cell Slide" r:id="rId6" imgW="360" imgH="360" progId="">
                  <p:embed/>
                  <p:pic>
                    <p:nvPicPr>
                      <p:cNvPr id="4"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9" name="Straight Connector 5"/>
          <p:cNvCxnSpPr/>
          <p:nvPr>
            <p:custDataLst>
              <p:tags r:id="rId3"/>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2" hidden="1"/>
          <p:cNvGraphicFramePr>
            <a:graphicFrameLocks noChangeAspect="1"/>
          </p:cNvGraphicFramePr>
          <p:nvPr>
            <p:custDataLst>
              <p:tags r:id="rId4"/>
            </p:custDataLst>
          </p:nvPr>
        </p:nvGraphicFramePr>
        <p:xfrm>
          <a:off x="0" y="1"/>
          <a:ext cx="181708" cy="144463"/>
        </p:xfrm>
        <a:graphic>
          <a:graphicData uri="http://schemas.openxmlformats.org/presentationml/2006/ole">
            <mc:AlternateContent xmlns:mc="http://schemas.openxmlformats.org/markup-compatibility/2006">
              <mc:Choice xmlns:v="urn:schemas-microsoft-com:vml" Requires="v">
                <p:oleObj spid="_x0000_s10249" name="think-cell Slide" r:id="rId8" imgW="360" imgH="360" progId="">
                  <p:embed/>
                </p:oleObj>
              </mc:Choice>
              <mc:Fallback>
                <p:oleObj name="think-cell Slide" r:id="rId8" imgW="360" imgH="360" progId="">
                  <p:embed/>
                  <p:pic>
                    <p:nvPicPr>
                      <p:cNvPr id="1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8170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sz="2600"/>
            </a:lvl1pPr>
          </a:lstStyle>
          <a:p>
            <a:r>
              <a:rPr lang="en-US" noProof="0" dirty="0"/>
              <a:t>Click to edit Master title style</a:t>
            </a:r>
            <a:endParaRPr lang="en-US" dirty="0"/>
          </a:p>
        </p:txBody>
      </p:sp>
      <p:sp>
        <p:nvSpPr>
          <p:cNvPr id="3" name="Content Placeholder 2"/>
          <p:cNvSpPr>
            <a:spLocks noGrp="1"/>
          </p:cNvSpPr>
          <p:nvPr>
            <p:ph idx="1"/>
          </p:nvPr>
        </p:nvSpPr>
        <p:spPr>
          <a:xfrm>
            <a:off x="398021" y="1494766"/>
            <a:ext cx="11793979" cy="4643751"/>
          </a:xfrm>
        </p:spPr>
        <p:txBody>
          <a:bodyPr/>
          <a:lstStyle>
            <a:lvl1pPr>
              <a:defRPr b="0"/>
            </a:lvl1pPr>
            <a:lvl5pPr>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grpSp>
        <p:nvGrpSpPr>
          <p:cNvPr id="12" name="Groupe 1">
            <a:extLst>
              <a:ext uri="{FF2B5EF4-FFF2-40B4-BE49-F238E27FC236}">
                <a16:creationId xmlns:a16="http://schemas.microsoft.com/office/drawing/2014/main" id="{2AE28CD1-19C9-42A3-932E-DB7335C21B4D}"/>
              </a:ext>
            </a:extLst>
          </p:cNvPr>
          <p:cNvGrpSpPr/>
          <p:nvPr userDrawn="1"/>
        </p:nvGrpSpPr>
        <p:grpSpPr>
          <a:xfrm>
            <a:off x="11508858" y="144463"/>
            <a:ext cx="516229" cy="388988"/>
            <a:chOff x="11501102" y="171573"/>
            <a:chExt cx="419436" cy="388988"/>
          </a:xfrm>
        </p:grpSpPr>
        <p:sp>
          <p:nvSpPr>
            <p:cNvPr id="13" name="Freeform 13">
              <a:extLst>
                <a:ext uri="{FF2B5EF4-FFF2-40B4-BE49-F238E27FC236}">
                  <a16:creationId xmlns:a16="http://schemas.microsoft.com/office/drawing/2014/main" id="{C67B21A8-B96E-4F3F-BF3F-949EA8984EBB}"/>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defTabSz="914400" fontAlgn="auto">
                <a:spcBef>
                  <a:spcPts val="0"/>
                </a:spcBef>
                <a:spcAft>
                  <a:spcPts val="0"/>
                </a:spcAft>
              </a:pPr>
              <a:endParaRPr lang="en-GB" sz="1800" dirty="0">
                <a:solidFill>
                  <a:prstClr val="black"/>
                </a:solidFill>
                <a:latin typeface="Verdana"/>
                <a:cs typeface="+mn-cs"/>
              </a:endParaRPr>
            </a:p>
          </p:txBody>
        </p:sp>
        <p:sp>
          <p:nvSpPr>
            <p:cNvPr id="14" name="Freeform 14">
              <a:extLst>
                <a:ext uri="{FF2B5EF4-FFF2-40B4-BE49-F238E27FC236}">
                  <a16:creationId xmlns:a16="http://schemas.microsoft.com/office/drawing/2014/main" id="{F9EC37A4-F181-4F2F-A9D7-57004AFC8EA4}"/>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defTabSz="914400" fontAlgn="auto">
                <a:spcBef>
                  <a:spcPts val="0"/>
                </a:spcBef>
                <a:spcAft>
                  <a:spcPts val="0"/>
                </a:spcAft>
              </a:pPr>
              <a:endParaRPr lang="en-GB" sz="1800" dirty="0">
                <a:solidFill>
                  <a:prstClr val="black"/>
                </a:solidFill>
                <a:latin typeface="Verdana"/>
                <a:cs typeface="+mn-cs"/>
              </a:endParaRPr>
            </a:p>
          </p:txBody>
        </p:sp>
      </p:grpSp>
      <p:sp>
        <p:nvSpPr>
          <p:cNvPr id="15" name="Retângulo 43">
            <a:extLst>
              <a:ext uri="{FF2B5EF4-FFF2-40B4-BE49-F238E27FC236}">
                <a16:creationId xmlns:a16="http://schemas.microsoft.com/office/drawing/2014/main" id="{023996E5-AE44-436B-B35D-B4B7976BBE6A}"/>
              </a:ext>
            </a:extLst>
          </p:cNvPr>
          <p:cNvSpPr/>
          <p:nvPr userDrawn="1"/>
        </p:nvSpPr>
        <p:spPr>
          <a:xfrm>
            <a:off x="11791944" y="6542443"/>
            <a:ext cx="314509" cy="215444"/>
          </a:xfrm>
          <a:prstGeom prst="rect">
            <a:avLst/>
          </a:prstGeom>
        </p:spPr>
        <p:txBody>
          <a:bodyPr wrap="none">
            <a:spAutoFit/>
          </a:bodyPr>
          <a:lstStyle/>
          <a:p>
            <a:pPr algn="r"/>
            <a:fld id="{0502E5A9-B53C-401E-A0E0-4A359BB0A9E5}" type="slidenum">
              <a:rPr lang="en-US" sz="800" smtClean="0">
                <a:solidFill>
                  <a:schemeClr val="tx1"/>
                </a:solidFill>
                <a:latin typeface="Ubuntu" panose="020B0504030602030204" pitchFamily="34" charset="0"/>
                <a:cs typeface="Arial" panose="020B0604020202020204" pitchFamily="34" charset="0"/>
              </a:rPr>
              <a:t>‹#›</a:t>
            </a:fld>
            <a:endParaRPr lang="en-US" sz="800" dirty="0">
              <a:solidFill>
                <a:schemeClr val="tx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41738298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
        <p:nvSpPr>
          <p:cNvPr id="9" name="Retângulo 43">
            <a:extLst>
              <a:ext uri="{FF2B5EF4-FFF2-40B4-BE49-F238E27FC236}">
                <a16:creationId xmlns:a16="http://schemas.microsoft.com/office/drawing/2014/main" id="{6430FB6C-7701-454F-9277-AE5EB636A6F5}"/>
              </a:ext>
            </a:extLst>
          </p:cNvPr>
          <p:cNvSpPr/>
          <p:nvPr userDrawn="1"/>
        </p:nvSpPr>
        <p:spPr>
          <a:xfrm>
            <a:off x="11791944" y="6542443"/>
            <a:ext cx="314509" cy="215444"/>
          </a:xfrm>
          <a:prstGeom prst="rect">
            <a:avLst/>
          </a:prstGeom>
        </p:spPr>
        <p:txBody>
          <a:bodyPr wrap="none">
            <a:spAutoFit/>
          </a:bodyPr>
          <a:lstStyle/>
          <a:p>
            <a:pPr algn="r"/>
            <a:fld id="{0502E5A9-B53C-401E-A0E0-4A359BB0A9E5}" type="slidenum">
              <a:rPr lang="en-US" sz="800" smtClean="0">
                <a:solidFill>
                  <a:schemeClr val="tx1"/>
                </a:solidFill>
                <a:latin typeface="Ubuntu" panose="020B0504030602030204" pitchFamily="34" charset="0"/>
                <a:cs typeface="Arial" panose="020B0604020202020204" pitchFamily="34" charset="0"/>
              </a:rPr>
              <a:t>‹#›</a:t>
            </a:fld>
            <a:endParaRPr lang="en-US" sz="800" dirty="0">
              <a:solidFill>
                <a:schemeClr val="tx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38562875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1"/>
          <p:cNvSpPr>
            <a:spLocks noGrp="1"/>
          </p:cNvSpPr>
          <p:nvPr>
            <p:ph type="title" hasCustomPrompt="1"/>
            <p:custDataLst>
              <p:tags r:id="rId1"/>
            </p:custDataLst>
          </p:nvPr>
        </p:nvSpPr>
        <p:spPr>
          <a:xfrm>
            <a:off x="2" y="1"/>
            <a:ext cx="12191999" cy="1002135"/>
          </a:xfrm>
        </p:spPr>
        <p:txBody>
          <a:bodyPr/>
          <a:lstStyle>
            <a:lvl1pPr>
              <a:defRPr/>
            </a:lvl1pPr>
          </a:lstStyle>
          <a:p>
            <a:r>
              <a:rPr lang="en-US" noProof="0" dirty="0"/>
              <a:t>Click to edit Master title style</a:t>
            </a:r>
            <a:endParaRPr lang="en-US" dirty="0"/>
          </a:p>
        </p:txBody>
      </p:sp>
      <p:sp>
        <p:nvSpPr>
          <p:cNvPr id="5" name="Retângulo 43">
            <a:extLst>
              <a:ext uri="{FF2B5EF4-FFF2-40B4-BE49-F238E27FC236}">
                <a16:creationId xmlns:a16="http://schemas.microsoft.com/office/drawing/2014/main" id="{5F8E0DB0-BEB5-4677-9735-BB8036B43FE6}"/>
              </a:ext>
            </a:extLst>
          </p:cNvPr>
          <p:cNvSpPr/>
          <p:nvPr userDrawn="1"/>
        </p:nvSpPr>
        <p:spPr>
          <a:xfrm>
            <a:off x="11791944" y="6542443"/>
            <a:ext cx="314509" cy="215444"/>
          </a:xfrm>
          <a:prstGeom prst="rect">
            <a:avLst/>
          </a:prstGeom>
        </p:spPr>
        <p:txBody>
          <a:bodyPr wrap="none">
            <a:spAutoFit/>
          </a:bodyPr>
          <a:lstStyle/>
          <a:p>
            <a:pPr algn="r"/>
            <a:fld id="{0502E5A9-B53C-401E-A0E0-4A359BB0A9E5}" type="slidenum">
              <a:rPr lang="en-US" sz="800" smtClean="0">
                <a:solidFill>
                  <a:schemeClr val="tx1"/>
                </a:solidFill>
                <a:latin typeface="Ubuntu" panose="020B0504030602030204" pitchFamily="34" charset="0"/>
                <a:cs typeface="Arial" panose="020B0604020202020204" pitchFamily="34" charset="0"/>
              </a:rPr>
              <a:t>‹#›</a:t>
            </a:fld>
            <a:endParaRPr lang="en-US" sz="800" dirty="0">
              <a:solidFill>
                <a:schemeClr val="tx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3462156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1"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5" name="Retângulo 43">
            <a:extLst>
              <a:ext uri="{FF2B5EF4-FFF2-40B4-BE49-F238E27FC236}">
                <a16:creationId xmlns:a16="http://schemas.microsoft.com/office/drawing/2014/main" id="{1990D32A-01D3-430B-B840-17D09E488E73}"/>
              </a:ext>
            </a:extLst>
          </p:cNvPr>
          <p:cNvSpPr/>
          <p:nvPr userDrawn="1"/>
        </p:nvSpPr>
        <p:spPr>
          <a:xfrm>
            <a:off x="11791944" y="6542443"/>
            <a:ext cx="314509" cy="215444"/>
          </a:xfrm>
          <a:prstGeom prst="rect">
            <a:avLst/>
          </a:prstGeom>
        </p:spPr>
        <p:txBody>
          <a:bodyPr wrap="none">
            <a:spAutoFit/>
          </a:bodyPr>
          <a:lstStyle/>
          <a:p>
            <a:pPr algn="r"/>
            <a:fld id="{0502E5A9-B53C-401E-A0E0-4A359BB0A9E5}" type="slidenum">
              <a:rPr lang="en-US" sz="800" smtClean="0">
                <a:solidFill>
                  <a:schemeClr val="tx1"/>
                </a:solidFill>
                <a:latin typeface="Ubuntu" panose="020B0504030602030204" pitchFamily="34" charset="0"/>
                <a:cs typeface="Arial" panose="020B0604020202020204" pitchFamily="34" charset="0"/>
              </a:rPr>
              <a:t>‹#›</a:t>
            </a:fld>
            <a:endParaRPr lang="en-US" sz="800" dirty="0">
              <a:solidFill>
                <a:schemeClr val="tx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7887733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9864476" cy="863600"/>
          </a:xfrm>
          <a:prstGeom prst="rect">
            <a:avLst/>
          </a:prstGeom>
        </p:spPr>
        <p:txBody>
          <a:bodyPr vert="horz" lIns="0" tIns="0" rIns="0" bIns="0" rtlCol="0" anchor="t">
            <a:noAutofit/>
          </a:bodyPr>
          <a:lstStyle>
            <a:lvl1pPr>
              <a:defRPr lang="pt-PT" sz="2399" dirty="0"/>
            </a:lvl1pPr>
          </a:lstStyle>
          <a:p>
            <a:pPr lvl="0">
              <a:lnSpc>
                <a:spcPts val="2999"/>
              </a:lnSpc>
            </a:pPr>
            <a:r>
              <a:rPr lang="en-US" dirty="0"/>
              <a:t>Click to add title</a:t>
            </a:r>
            <a:endParaRPr lang="pt-PT" dirty="0"/>
          </a:p>
        </p:txBody>
      </p:sp>
      <p:sp>
        <p:nvSpPr>
          <p:cNvPr id="4" name="Retângulo 43">
            <a:extLst>
              <a:ext uri="{FF2B5EF4-FFF2-40B4-BE49-F238E27FC236}">
                <a16:creationId xmlns:a16="http://schemas.microsoft.com/office/drawing/2014/main" id="{613E9743-4FFB-4B6A-95A2-A28E3CD4BB1C}"/>
              </a:ext>
            </a:extLst>
          </p:cNvPr>
          <p:cNvSpPr/>
          <p:nvPr userDrawn="1"/>
        </p:nvSpPr>
        <p:spPr>
          <a:xfrm>
            <a:off x="11791944" y="6542443"/>
            <a:ext cx="314509" cy="215444"/>
          </a:xfrm>
          <a:prstGeom prst="rect">
            <a:avLst/>
          </a:prstGeom>
        </p:spPr>
        <p:txBody>
          <a:bodyPr wrap="none">
            <a:spAutoFit/>
          </a:bodyPr>
          <a:lstStyle/>
          <a:p>
            <a:pPr algn="r"/>
            <a:fld id="{0502E5A9-B53C-401E-A0E0-4A359BB0A9E5}" type="slidenum">
              <a:rPr lang="en-US" sz="800" smtClean="0">
                <a:solidFill>
                  <a:schemeClr val="tx1"/>
                </a:solidFill>
                <a:latin typeface="Ubuntu" panose="020B0504030602030204" pitchFamily="34" charset="0"/>
                <a:cs typeface="Arial" panose="020B0604020202020204" pitchFamily="34" charset="0"/>
              </a:rPr>
              <a:t>‹#›</a:t>
            </a:fld>
            <a:endParaRPr lang="en-US" sz="800" dirty="0">
              <a:solidFill>
                <a:schemeClr val="tx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29121188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9" y="404813"/>
            <a:ext cx="9864476" cy="863600"/>
          </a:xfrm>
          <a:prstGeom prst="rect">
            <a:avLst/>
          </a:prstGeom>
        </p:spPr>
        <p:txBody>
          <a:bodyPr vert="horz" lIns="0" tIns="0" rIns="0" bIns="0" rtlCol="0" anchor="t">
            <a:noAutofit/>
          </a:bodyPr>
          <a:lstStyle>
            <a:lvl1pPr>
              <a:defRPr lang="pt-PT" sz="2399" dirty="0"/>
            </a:lvl1pPr>
          </a:lstStyle>
          <a:p>
            <a:pPr lvl="0">
              <a:lnSpc>
                <a:spcPts val="2999"/>
              </a:lnSpc>
            </a:pPr>
            <a:r>
              <a:rPr lang="en-US" dirty="0"/>
              <a:t>Click to add title</a:t>
            </a:r>
            <a:endParaRPr lang="pt-PT" dirty="0"/>
          </a:p>
        </p:txBody>
      </p:sp>
      <p:sp>
        <p:nvSpPr>
          <p:cNvPr id="6" name="Retângulo 43">
            <a:extLst>
              <a:ext uri="{FF2B5EF4-FFF2-40B4-BE49-F238E27FC236}">
                <a16:creationId xmlns:a16="http://schemas.microsoft.com/office/drawing/2014/main" id="{CB088D2B-55CE-4B7F-9047-96B70CC58C68}"/>
              </a:ext>
            </a:extLst>
          </p:cNvPr>
          <p:cNvSpPr/>
          <p:nvPr userDrawn="1"/>
        </p:nvSpPr>
        <p:spPr>
          <a:xfrm>
            <a:off x="11791944" y="6542443"/>
            <a:ext cx="314509" cy="215444"/>
          </a:xfrm>
          <a:prstGeom prst="rect">
            <a:avLst/>
          </a:prstGeom>
        </p:spPr>
        <p:txBody>
          <a:bodyPr wrap="none">
            <a:spAutoFit/>
          </a:bodyPr>
          <a:lstStyle/>
          <a:p>
            <a:pPr algn="r"/>
            <a:fld id="{0502E5A9-B53C-401E-A0E0-4A359BB0A9E5}" type="slidenum">
              <a:rPr lang="en-US" sz="800" smtClean="0">
                <a:solidFill>
                  <a:schemeClr val="tx1"/>
                </a:solidFill>
                <a:latin typeface="Ubuntu" panose="020B0504030602030204" pitchFamily="34" charset="0"/>
                <a:cs typeface="Arial" panose="020B0604020202020204" pitchFamily="34" charset="0"/>
              </a:rPr>
              <a:t>‹#›</a:t>
            </a:fld>
            <a:endParaRPr lang="en-US" sz="800" dirty="0">
              <a:solidFill>
                <a:schemeClr val="tx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19484452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
        <p:nvSpPr>
          <p:cNvPr id="11" name="Retângulo 43">
            <a:extLst>
              <a:ext uri="{FF2B5EF4-FFF2-40B4-BE49-F238E27FC236}">
                <a16:creationId xmlns:a16="http://schemas.microsoft.com/office/drawing/2014/main" id="{9DAE2492-EC72-431E-A1C9-3DAC36FC63BD}"/>
              </a:ext>
            </a:extLst>
          </p:cNvPr>
          <p:cNvSpPr/>
          <p:nvPr userDrawn="1"/>
        </p:nvSpPr>
        <p:spPr>
          <a:xfrm>
            <a:off x="11791944" y="6542443"/>
            <a:ext cx="314509" cy="215444"/>
          </a:xfrm>
          <a:prstGeom prst="rect">
            <a:avLst/>
          </a:prstGeom>
        </p:spPr>
        <p:txBody>
          <a:bodyPr wrap="none">
            <a:spAutoFit/>
          </a:bodyPr>
          <a:lstStyle/>
          <a:p>
            <a:pPr algn="r"/>
            <a:fld id="{0502E5A9-B53C-401E-A0E0-4A359BB0A9E5}" type="slidenum">
              <a:rPr lang="en-US" sz="800" smtClean="0">
                <a:solidFill>
                  <a:schemeClr val="tx1"/>
                </a:solidFill>
                <a:latin typeface="Ubuntu" panose="020B0504030602030204" pitchFamily="34" charset="0"/>
                <a:cs typeface="Arial" panose="020B0604020202020204" pitchFamily="34" charset="0"/>
              </a:rPr>
              <a:t>‹#›</a:t>
            </a:fld>
            <a:endParaRPr lang="en-US" sz="800" dirty="0">
              <a:solidFill>
                <a:schemeClr val="tx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10422124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
        <p:nvSpPr>
          <p:cNvPr id="8" name="Retângulo 43">
            <a:extLst>
              <a:ext uri="{FF2B5EF4-FFF2-40B4-BE49-F238E27FC236}">
                <a16:creationId xmlns:a16="http://schemas.microsoft.com/office/drawing/2014/main" id="{C23A3A2F-3839-42C0-A9BA-F249FC0F2AD0}"/>
              </a:ext>
            </a:extLst>
          </p:cNvPr>
          <p:cNvSpPr/>
          <p:nvPr userDrawn="1"/>
        </p:nvSpPr>
        <p:spPr>
          <a:xfrm>
            <a:off x="11791944" y="6542443"/>
            <a:ext cx="314509" cy="215444"/>
          </a:xfrm>
          <a:prstGeom prst="rect">
            <a:avLst/>
          </a:prstGeom>
        </p:spPr>
        <p:txBody>
          <a:bodyPr wrap="none">
            <a:spAutoFit/>
          </a:bodyPr>
          <a:lstStyle/>
          <a:p>
            <a:pPr algn="r"/>
            <a:fld id="{0502E5A9-B53C-401E-A0E0-4A359BB0A9E5}" type="slidenum">
              <a:rPr lang="en-US" sz="800" smtClean="0">
                <a:solidFill>
                  <a:schemeClr val="tx1"/>
                </a:solidFill>
                <a:latin typeface="Ubuntu" panose="020B0504030602030204" pitchFamily="34" charset="0"/>
                <a:cs typeface="Arial" panose="020B0604020202020204" pitchFamily="34" charset="0"/>
              </a:rPr>
              <a:t>‹#›</a:t>
            </a:fld>
            <a:endParaRPr lang="en-US" sz="800" dirty="0">
              <a:solidFill>
                <a:schemeClr val="tx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14809039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ts val="6200"/>
              </a:lnSpc>
              <a:defRPr sz="54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ts val="18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2189566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ags" Target="../tags/tag1.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5.xml"/><Relationship Id="rId5" Type="http://schemas.openxmlformats.org/officeDocument/2006/relationships/theme" Target="../theme/theme1.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6.sv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5.png"/><Relationship Id="rId5" Type="http://schemas.openxmlformats.org/officeDocument/2006/relationships/theme" Target="../theme/theme2.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8.pn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3.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image" Target="../media/image6.svg"/></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6.vml"/><Relationship Id="rId3" Type="http://schemas.openxmlformats.org/officeDocument/2006/relationships/slideLayout" Target="../slideLayouts/slideLayout22.xml"/><Relationship Id="rId7" Type="http://schemas.openxmlformats.org/officeDocument/2006/relationships/theme" Target="../theme/theme4.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image" Target="../media/image7.emf"/><Relationship Id="rId5" Type="http://schemas.openxmlformats.org/officeDocument/2006/relationships/slideLayout" Target="../slideLayouts/slideLayout24.xml"/><Relationship Id="rId10" Type="http://schemas.openxmlformats.org/officeDocument/2006/relationships/oleObject" Target="../embeddings/oleObject6.bin"/><Relationship Id="rId4" Type="http://schemas.openxmlformats.org/officeDocument/2006/relationships/slideLayout" Target="../slideLayouts/slideLayout23.xml"/><Relationship Id="rId9"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9" name="think-cell Slide" r:id="rId12" imgW="360" imgH="360" progId="">
                  <p:embed/>
                </p:oleObj>
              </mc:Choice>
              <mc:Fallback>
                <p:oleObj name="think-cell Slide" r:id="rId12" imgW="360" imgH="36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8"/>
            </p:custDataLst>
          </p:nvPr>
        </p:nvSpPr>
        <p:spPr>
          <a:xfrm>
            <a:off x="2" y="1"/>
            <a:ext cx="12191999" cy="1002135"/>
          </a:xfrm>
          <a:prstGeom prst="rect">
            <a:avLst/>
          </a:prstGeom>
        </p:spPr>
        <p:txBody>
          <a:bodyPr vert="horz" lIns="297529" tIns="33059" rIns="165294" bIns="33059" rtlCol="0" anchor="ctr">
            <a:noAutofit/>
          </a:bodyPr>
          <a:lstStyle/>
          <a:p>
            <a:r>
              <a:rPr lang="en-US" noProof="0" dirty="0"/>
              <a:t>Click to edit Master title style</a:t>
            </a:r>
          </a:p>
        </p:txBody>
      </p:sp>
      <p:sp>
        <p:nvSpPr>
          <p:cNvPr id="3" name="Text Placeholder 2"/>
          <p:cNvSpPr>
            <a:spLocks noGrp="1"/>
          </p:cNvSpPr>
          <p:nvPr>
            <p:ph type="body" idx="1"/>
            <p:custDataLst>
              <p:tags r:id="rId9"/>
            </p:custDataLst>
          </p:nvPr>
        </p:nvSpPr>
        <p:spPr>
          <a:xfrm>
            <a:off x="398021" y="1501977"/>
            <a:ext cx="11399303" cy="4774998"/>
          </a:xfrm>
          <a:prstGeom prst="rect">
            <a:avLst/>
          </a:prstGeom>
        </p:spPr>
        <p:txBody>
          <a:bodyPr vert="horz" lIns="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10"/>
            </p:custDataLst>
          </p:nvPr>
        </p:nvSpPr>
        <p:spPr bwMode="auto">
          <a:xfrm>
            <a:off x="3"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p>
        </p:txBody>
      </p:sp>
      <p:cxnSp>
        <p:nvCxnSpPr>
          <p:cNvPr id="15" name="Straight Connector 5"/>
          <p:cNvCxnSpPr/>
          <p:nvPr>
            <p:custDataLst>
              <p:tags r:id="rId11"/>
            </p:custDataLst>
          </p:nvPr>
        </p:nvCxnSpPr>
        <p:spPr>
          <a:xfrm flipH="1">
            <a:off x="3"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87667975"/>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5" r:id="rId3"/>
    <p:sldLayoutId id="2147483667" r:id="rId4"/>
  </p:sldLayoutIdLst>
  <p:hf hdr="0" ftr="0" dt="0"/>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9" y="404815"/>
            <a:ext cx="11016604" cy="863601"/>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8" y="1412877"/>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07555553"/>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83" r:id="rId3"/>
    <p:sldLayoutId id="2147483685" r:id="rId4"/>
  </p:sldLayoutIdLst>
  <p:hf hdr="0" ftr="0" dt="0"/>
  <p:txStyles>
    <p:titleStyle>
      <a:lvl1pPr algn="l" defTabSz="914126" rtl="0" eaLnBrk="1" latinLnBrk="0" hangingPunct="1">
        <a:lnSpc>
          <a:spcPct val="90000"/>
        </a:lnSpc>
        <a:spcBef>
          <a:spcPct val="0"/>
        </a:spcBef>
        <a:buNone/>
        <a:defRPr lang="pt-PT" sz="2599" kern="1200">
          <a:solidFill>
            <a:schemeClr val="tx2"/>
          </a:solidFill>
          <a:latin typeface="Ubuntu" panose="020B0504030602030204" pitchFamily="34" charset="0"/>
          <a:ea typeface="Verdana" panose="020B0604030504040204" pitchFamily="34" charset="0"/>
          <a:cs typeface="Verdana" panose="020B0604030504040204" pitchFamily="34" charset="0"/>
        </a:defRPr>
      </a:lvl1pPr>
    </p:titleStyle>
    <p:bodyStyle>
      <a:lvl1pPr marL="0" indent="0" algn="l" defTabSz="914126" rtl="0" eaLnBrk="1" latinLnBrk="0" hangingPunct="1">
        <a:lnSpc>
          <a:spcPts val="2199"/>
        </a:lnSpc>
        <a:spcBef>
          <a:spcPts val="0"/>
        </a:spcBef>
        <a:spcAft>
          <a:spcPts val="600"/>
        </a:spcAft>
        <a:buFont typeface="Arial" panose="020B0604020202020204" pitchFamily="34" charset="0"/>
        <a:buNone/>
        <a:defRPr sz="1799" kern="1200">
          <a:solidFill>
            <a:schemeClr val="tx1"/>
          </a:solidFill>
          <a:latin typeface="Ubuntu" panose="020B0504030602030204" pitchFamily="34" charset="0"/>
          <a:ea typeface="+mn-ea"/>
          <a:cs typeface="+mn-cs"/>
        </a:defRPr>
      </a:lvl1pPr>
      <a:lvl2pPr marL="233293" indent="-228531" algn="l" defTabSz="914126" rtl="0" eaLnBrk="1" latinLnBrk="0" hangingPunct="1">
        <a:lnSpc>
          <a:spcPts val="1999"/>
        </a:lnSpc>
        <a:spcBef>
          <a:spcPts val="0"/>
        </a:spcBef>
        <a:spcAft>
          <a:spcPts val="600"/>
        </a:spcAft>
        <a:buClr>
          <a:schemeClr val="accent1"/>
        </a:buClr>
        <a:buFont typeface="Wingdings" panose="05000000000000000000" pitchFamily="2" charset="2"/>
        <a:buChar char="§"/>
        <a:defRPr sz="1600" kern="1200">
          <a:solidFill>
            <a:schemeClr val="tx1"/>
          </a:solidFill>
          <a:latin typeface="Ubuntu" panose="020B0504030602030204" pitchFamily="34" charset="0"/>
          <a:ea typeface="+mn-ea"/>
          <a:cs typeface="+mn-cs"/>
        </a:defRPr>
      </a:lvl2pPr>
      <a:lvl3pPr marL="457063" indent="-223771" algn="l" defTabSz="914126"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Ubuntu" panose="020B0504030602030204" pitchFamily="34" charset="0"/>
          <a:ea typeface="+mn-ea"/>
          <a:cs typeface="+mn-cs"/>
        </a:defRPr>
      </a:lvl3pPr>
      <a:lvl4pPr marL="690356" indent="-233293" algn="l" defTabSz="914126"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Ubuntu" panose="020B0504030602030204" pitchFamily="34" charset="0"/>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pt-PT"/>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1">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39">
          <p15:clr>
            <a:srgbClr val="F26B43"/>
          </p15:clr>
        </p15:guide>
        <p15:guide id="8" pos="3748">
          <p15:clr>
            <a:srgbClr val="F26B43"/>
          </p15:clr>
        </p15:guide>
        <p15:guide id="9" pos="393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dirty="0"/>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3">
            <a:extLst>
              <a:ext uri="{96DAC541-7B7A-43D3-8B79-37D633B846F1}">
                <asvg:svgBlip xmlns:asvg="http://schemas.microsoft.com/office/drawing/2016/SVG/main" r:embed="rId14"/>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Rectangle 4"/>
          <p:cNvSpPr/>
          <p:nvPr userDrawn="1"/>
        </p:nvSpPr>
        <p:spPr>
          <a:xfrm>
            <a:off x="12496801" y="1590548"/>
            <a:ext cx="595070"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apgemini Blue</a:t>
            </a:r>
          </a:p>
          <a:p>
            <a:pPr marL="171450"/>
            <a:r>
              <a:rPr lang="en-US" sz="600" dirty="0"/>
              <a:t>R 0</a:t>
            </a:r>
          </a:p>
          <a:p>
            <a:pPr marL="171450"/>
            <a:r>
              <a:rPr lang="en-US" sz="600" dirty="0"/>
              <a:t>G 112</a:t>
            </a:r>
          </a:p>
          <a:p>
            <a:pPr marL="171450"/>
            <a:r>
              <a:rPr lang="en-US" sz="600" dirty="0"/>
              <a:t>B 173</a:t>
            </a:r>
          </a:p>
        </p:txBody>
      </p:sp>
      <p:sp>
        <p:nvSpPr>
          <p:cNvPr id="6" name="Rectangle 5"/>
          <p:cNvSpPr/>
          <p:nvPr userDrawn="1"/>
        </p:nvSpPr>
        <p:spPr>
          <a:xfrm>
            <a:off x="13091871" y="1590548"/>
            <a:ext cx="595070"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Vibrant</a:t>
            </a:r>
            <a:br>
              <a:rPr lang="en-US" sz="600" b="1" dirty="0"/>
            </a:br>
            <a:r>
              <a:rPr lang="en-US" sz="600" b="1" dirty="0"/>
              <a:t>Blue</a:t>
            </a:r>
          </a:p>
          <a:p>
            <a:pPr marL="171450"/>
            <a:r>
              <a:rPr lang="en-US" sz="600" dirty="0"/>
              <a:t>R 18</a:t>
            </a:r>
          </a:p>
          <a:p>
            <a:pPr marL="171450"/>
            <a:r>
              <a:rPr lang="en-US" sz="600" dirty="0"/>
              <a:t>G 171</a:t>
            </a:r>
          </a:p>
          <a:p>
            <a:pPr marL="171450"/>
            <a:r>
              <a:rPr lang="en-US" sz="600" dirty="0"/>
              <a:t>B 219</a:t>
            </a:r>
          </a:p>
        </p:txBody>
      </p:sp>
      <p:sp>
        <p:nvSpPr>
          <p:cNvPr id="7" name="Rectangle 6"/>
          <p:cNvSpPr/>
          <p:nvPr userDrawn="1"/>
        </p:nvSpPr>
        <p:spPr>
          <a:xfrm>
            <a:off x="13686941" y="1590548"/>
            <a:ext cx="595070"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eep</a:t>
            </a:r>
            <a:br>
              <a:rPr lang="en-US" sz="600" b="1" dirty="0"/>
            </a:br>
            <a:r>
              <a:rPr lang="en-US" sz="600" b="1" dirty="0"/>
              <a:t>Purple</a:t>
            </a:r>
          </a:p>
          <a:p>
            <a:pPr marL="171450"/>
            <a:r>
              <a:rPr lang="en-US" sz="600" dirty="0"/>
              <a:t>R 43</a:t>
            </a:r>
          </a:p>
          <a:p>
            <a:pPr marL="171450"/>
            <a:r>
              <a:rPr lang="en-US" sz="600" dirty="0"/>
              <a:t>G 10</a:t>
            </a:r>
          </a:p>
          <a:p>
            <a:pPr marL="171450"/>
            <a:r>
              <a:rPr lang="en-US" sz="600" dirty="0"/>
              <a:t>B 61</a:t>
            </a:r>
          </a:p>
        </p:txBody>
      </p:sp>
      <p:sp>
        <p:nvSpPr>
          <p:cNvPr id="8" name="Rectangle 7"/>
          <p:cNvSpPr/>
          <p:nvPr userDrawn="1"/>
        </p:nvSpPr>
        <p:spPr>
          <a:xfrm>
            <a:off x="14282011" y="1590548"/>
            <a:ext cx="595070"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Tech</a:t>
            </a:r>
            <a:br>
              <a:rPr lang="en-US" sz="600" b="1" dirty="0"/>
            </a:br>
            <a:r>
              <a:rPr lang="en-US" sz="600" b="1" dirty="0"/>
              <a:t>Red</a:t>
            </a:r>
          </a:p>
          <a:p>
            <a:pPr marL="171450"/>
            <a:r>
              <a:rPr lang="en-US" sz="600" dirty="0"/>
              <a:t>R 255</a:t>
            </a:r>
          </a:p>
          <a:p>
            <a:pPr marL="171450"/>
            <a:r>
              <a:rPr lang="en-US" sz="600" dirty="0"/>
              <a:t>G 48</a:t>
            </a:r>
          </a:p>
          <a:p>
            <a:pPr marL="171450"/>
            <a:r>
              <a:rPr lang="en-US" sz="600" dirty="0"/>
              <a:t>B 76</a:t>
            </a:r>
          </a:p>
        </p:txBody>
      </p:sp>
      <p:sp>
        <p:nvSpPr>
          <p:cNvPr id="10" name="Rectangle 9"/>
          <p:cNvSpPr/>
          <p:nvPr userDrawn="1"/>
        </p:nvSpPr>
        <p:spPr>
          <a:xfrm>
            <a:off x="14877081" y="1590548"/>
            <a:ext cx="595070"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Zest</a:t>
            </a:r>
            <a:br>
              <a:rPr lang="en-US" sz="600" b="1" dirty="0"/>
            </a:br>
            <a:r>
              <a:rPr lang="en-US" sz="600" b="1" dirty="0"/>
              <a:t>Green</a:t>
            </a:r>
          </a:p>
          <a:p>
            <a:pPr marL="171450"/>
            <a:r>
              <a:rPr lang="en-US" sz="600" dirty="0"/>
              <a:t>R 149</a:t>
            </a:r>
          </a:p>
          <a:p>
            <a:pPr marL="171450"/>
            <a:r>
              <a:rPr lang="en-US" sz="600" dirty="0"/>
              <a:t>G 230</a:t>
            </a:r>
          </a:p>
          <a:p>
            <a:pPr marL="171450"/>
            <a:r>
              <a:rPr lang="en-US" sz="600" dirty="0"/>
              <a:t>B 22</a:t>
            </a:r>
          </a:p>
        </p:txBody>
      </p:sp>
      <p:sp>
        <p:nvSpPr>
          <p:cNvPr id="11" name="Rectangle 10"/>
          <p:cNvSpPr/>
          <p:nvPr userDrawn="1"/>
        </p:nvSpPr>
        <p:spPr>
          <a:xfrm>
            <a:off x="12496801" y="2468607"/>
            <a:ext cx="595070"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Capgemini Blue</a:t>
            </a:r>
            <a:r>
              <a:rPr lang="en-US" sz="600" dirty="0"/>
              <a:t> (-50%)</a:t>
            </a:r>
          </a:p>
          <a:p>
            <a:pPr marL="171450"/>
            <a:r>
              <a:rPr lang="en-US" sz="600" dirty="0"/>
              <a:t>R 128</a:t>
            </a:r>
          </a:p>
          <a:p>
            <a:pPr marL="171450"/>
            <a:r>
              <a:rPr lang="en-US" sz="600" dirty="0"/>
              <a:t>G 184</a:t>
            </a:r>
          </a:p>
          <a:p>
            <a:pPr marL="171450"/>
            <a:r>
              <a:rPr lang="en-US" sz="600" dirty="0"/>
              <a:t>B 214</a:t>
            </a:r>
          </a:p>
        </p:txBody>
      </p:sp>
      <p:sp>
        <p:nvSpPr>
          <p:cNvPr id="12" name="Rectangle 11"/>
          <p:cNvSpPr/>
          <p:nvPr userDrawn="1"/>
        </p:nvSpPr>
        <p:spPr>
          <a:xfrm>
            <a:off x="13091871" y="2468607"/>
            <a:ext cx="595070"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r>
              <a:rPr lang="en-US" sz="600" b="1" dirty="0"/>
              <a:t>Vibrant</a:t>
            </a:r>
            <a:br>
              <a:rPr lang="en-US" sz="600" b="1" dirty="0"/>
            </a:br>
            <a:r>
              <a:rPr lang="en-US" sz="600" b="1" dirty="0"/>
              <a:t>Blue</a:t>
            </a:r>
            <a:r>
              <a:rPr lang="en-US" sz="600" dirty="0"/>
              <a:t> (-50%)</a:t>
            </a:r>
          </a:p>
          <a:p>
            <a:pPr marL="171450"/>
            <a:r>
              <a:rPr lang="en-US" sz="600" dirty="0"/>
              <a:t>R 136</a:t>
            </a:r>
          </a:p>
          <a:p>
            <a:pPr marL="171450"/>
            <a:r>
              <a:rPr lang="en-US" sz="600" dirty="0"/>
              <a:t>G 213</a:t>
            </a:r>
          </a:p>
          <a:p>
            <a:pPr marL="171450"/>
            <a:r>
              <a:rPr lang="en-US" sz="600" dirty="0"/>
              <a:t>B 237</a:t>
            </a:r>
          </a:p>
        </p:txBody>
      </p:sp>
      <p:sp>
        <p:nvSpPr>
          <p:cNvPr id="14" name="Rectangle 13"/>
          <p:cNvSpPr/>
          <p:nvPr userDrawn="1"/>
        </p:nvSpPr>
        <p:spPr>
          <a:xfrm>
            <a:off x="13686941" y="2468607"/>
            <a:ext cx="595070"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Purple</a:t>
            </a:r>
          </a:p>
          <a:p>
            <a:pPr marL="171450"/>
            <a:r>
              <a:rPr lang="en-US" sz="600" dirty="0"/>
              <a:t>R 109</a:t>
            </a:r>
          </a:p>
          <a:p>
            <a:pPr marL="171450"/>
            <a:r>
              <a:rPr lang="en-US" sz="600" dirty="0"/>
              <a:t>G 100</a:t>
            </a:r>
          </a:p>
          <a:p>
            <a:pPr marL="171450"/>
            <a:r>
              <a:rPr lang="en-US" sz="600" dirty="0"/>
              <a:t>B 204</a:t>
            </a:r>
          </a:p>
        </p:txBody>
      </p:sp>
      <p:sp>
        <p:nvSpPr>
          <p:cNvPr id="15" name="Rectangle 14"/>
          <p:cNvSpPr/>
          <p:nvPr userDrawn="1"/>
        </p:nvSpPr>
        <p:spPr>
          <a:xfrm>
            <a:off x="14282011" y="2468607"/>
            <a:ext cx="595070"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Orange</a:t>
            </a:r>
          </a:p>
          <a:p>
            <a:pPr marL="171450"/>
            <a:r>
              <a:rPr lang="en-US" sz="600" dirty="0"/>
              <a:t>R 255</a:t>
            </a:r>
          </a:p>
          <a:p>
            <a:pPr marL="171450"/>
            <a:r>
              <a:rPr lang="en-US" sz="600" dirty="0"/>
              <a:t>G 99</a:t>
            </a:r>
          </a:p>
          <a:p>
            <a:pPr marL="171450"/>
            <a:r>
              <a:rPr lang="en-US" sz="600" dirty="0"/>
              <a:t>B 39</a:t>
            </a:r>
          </a:p>
        </p:txBody>
      </p:sp>
      <p:sp>
        <p:nvSpPr>
          <p:cNvPr id="16" name="Rectangle 15"/>
          <p:cNvSpPr/>
          <p:nvPr userDrawn="1"/>
        </p:nvSpPr>
        <p:spPr>
          <a:xfrm>
            <a:off x="14877081" y="2468607"/>
            <a:ext cx="595070"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Green</a:t>
            </a:r>
          </a:p>
          <a:p>
            <a:pPr marL="171450"/>
            <a:r>
              <a:rPr lang="en-US" sz="600" dirty="0"/>
              <a:t>R 200</a:t>
            </a:r>
          </a:p>
          <a:p>
            <a:pPr marL="171450"/>
            <a:r>
              <a:rPr lang="en-US" sz="600" dirty="0"/>
              <a:t>G 255</a:t>
            </a:r>
          </a:p>
          <a:p>
            <a:pPr marL="171450"/>
            <a:r>
              <a:rPr lang="en-US" sz="600" dirty="0"/>
              <a:t>B 22</a:t>
            </a:r>
          </a:p>
        </p:txBody>
      </p:sp>
      <p:sp>
        <p:nvSpPr>
          <p:cNvPr id="17" name="Rectangle 16"/>
          <p:cNvSpPr/>
          <p:nvPr userDrawn="1"/>
        </p:nvSpPr>
        <p:spPr>
          <a:xfrm>
            <a:off x="13686941" y="3089930"/>
            <a:ext cx="595070"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urple</a:t>
            </a:r>
          </a:p>
          <a:p>
            <a:pPr marL="171450"/>
            <a:r>
              <a:rPr lang="en-US" sz="600" dirty="0"/>
              <a:t>R 126</a:t>
            </a:r>
          </a:p>
          <a:p>
            <a:pPr marL="171450"/>
            <a:r>
              <a:rPr lang="en-US" sz="600" dirty="0"/>
              <a:t>G 57</a:t>
            </a:r>
          </a:p>
          <a:p>
            <a:pPr marL="171450"/>
            <a:r>
              <a:rPr lang="en-US" sz="600" dirty="0"/>
              <a:t>B 186</a:t>
            </a:r>
          </a:p>
        </p:txBody>
      </p:sp>
      <p:sp>
        <p:nvSpPr>
          <p:cNvPr id="18" name="Rectangle 17"/>
          <p:cNvSpPr/>
          <p:nvPr userDrawn="1"/>
        </p:nvSpPr>
        <p:spPr>
          <a:xfrm>
            <a:off x="14877081" y="3089930"/>
            <a:ext cx="595070"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Green</a:t>
            </a:r>
          </a:p>
          <a:p>
            <a:pPr marL="171450"/>
            <a:r>
              <a:rPr lang="en-US" sz="600" dirty="0"/>
              <a:t>R 0</a:t>
            </a:r>
          </a:p>
          <a:p>
            <a:pPr marL="171450"/>
            <a:r>
              <a:rPr lang="en-US" sz="600" dirty="0"/>
              <a:t>G 195</a:t>
            </a:r>
          </a:p>
          <a:p>
            <a:pPr marL="171450"/>
            <a:r>
              <a:rPr lang="en-US" sz="600" dirty="0"/>
              <a:t>B 123</a:t>
            </a:r>
          </a:p>
        </p:txBody>
      </p:sp>
      <p:sp>
        <p:nvSpPr>
          <p:cNvPr id="19" name="Rectangle 18"/>
          <p:cNvSpPr/>
          <p:nvPr userDrawn="1"/>
        </p:nvSpPr>
        <p:spPr>
          <a:xfrm>
            <a:off x="14877081" y="4948917"/>
            <a:ext cx="595070"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Green</a:t>
            </a:r>
          </a:p>
          <a:p>
            <a:pPr marL="171450"/>
            <a:r>
              <a:rPr lang="en-US" sz="600" dirty="0"/>
              <a:t>R 21</a:t>
            </a:r>
          </a:p>
          <a:p>
            <a:pPr marL="171450"/>
            <a:r>
              <a:rPr lang="en-US" sz="600" dirty="0"/>
              <a:t>G 99</a:t>
            </a:r>
          </a:p>
          <a:p>
            <a:pPr marL="171450"/>
            <a:r>
              <a:rPr lang="en-US" sz="600" dirty="0"/>
              <a:t>B 107</a:t>
            </a:r>
          </a:p>
        </p:txBody>
      </p:sp>
      <p:sp>
        <p:nvSpPr>
          <p:cNvPr id="20" name="Rectangle 19"/>
          <p:cNvSpPr/>
          <p:nvPr userDrawn="1"/>
        </p:nvSpPr>
        <p:spPr>
          <a:xfrm>
            <a:off x="14877081" y="4330085"/>
            <a:ext cx="595070"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Aqua</a:t>
            </a:r>
          </a:p>
          <a:p>
            <a:pPr marL="171450"/>
            <a:r>
              <a:rPr lang="en-US" sz="600" dirty="0"/>
              <a:t>R 15</a:t>
            </a:r>
          </a:p>
          <a:p>
            <a:pPr marL="171450"/>
            <a:r>
              <a:rPr lang="en-US" sz="600" dirty="0"/>
              <a:t>G 153</a:t>
            </a:r>
          </a:p>
          <a:p>
            <a:pPr marL="171450"/>
            <a:r>
              <a:rPr lang="en-US" sz="600" dirty="0"/>
              <a:t>B 156</a:t>
            </a:r>
          </a:p>
        </p:txBody>
      </p:sp>
      <p:sp>
        <p:nvSpPr>
          <p:cNvPr id="21" name="Rectangle 20"/>
          <p:cNvSpPr/>
          <p:nvPr userDrawn="1"/>
        </p:nvSpPr>
        <p:spPr>
          <a:xfrm>
            <a:off x="14877081" y="3711253"/>
            <a:ext cx="595070"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Bright</a:t>
            </a:r>
            <a:br>
              <a:rPr lang="en-US" sz="600" b="1" dirty="0"/>
            </a:br>
            <a:r>
              <a:rPr lang="en-US" sz="600" b="1" dirty="0"/>
              <a:t>Aqua</a:t>
            </a:r>
          </a:p>
          <a:p>
            <a:pPr marL="171450"/>
            <a:r>
              <a:rPr lang="en-US" sz="600" dirty="0"/>
              <a:t>R 1</a:t>
            </a:r>
          </a:p>
          <a:p>
            <a:pPr marL="171450"/>
            <a:r>
              <a:rPr lang="en-US" sz="600" dirty="0"/>
              <a:t>G 209</a:t>
            </a:r>
          </a:p>
          <a:p>
            <a:pPr marL="171450"/>
            <a:r>
              <a:rPr lang="en-US" sz="600" dirty="0"/>
              <a:t>B 208</a:t>
            </a:r>
          </a:p>
        </p:txBody>
      </p:sp>
      <p:sp>
        <p:nvSpPr>
          <p:cNvPr id="22" name="Rectangle 21"/>
          <p:cNvSpPr/>
          <p:nvPr userDrawn="1"/>
        </p:nvSpPr>
        <p:spPr>
          <a:xfrm>
            <a:off x="14282011" y="3089930"/>
            <a:ext cx="595070"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Peach</a:t>
            </a:r>
          </a:p>
          <a:p>
            <a:pPr marL="171450"/>
            <a:r>
              <a:rPr lang="en-US" sz="600" dirty="0"/>
              <a:t>R 255</a:t>
            </a:r>
          </a:p>
          <a:p>
            <a:pPr marL="171450"/>
            <a:r>
              <a:rPr lang="en-US" sz="600" dirty="0"/>
              <a:t>G 126</a:t>
            </a:r>
          </a:p>
          <a:p>
            <a:pPr marL="171450"/>
            <a:r>
              <a:rPr lang="en-US" sz="600" dirty="0"/>
              <a:t>B 131</a:t>
            </a:r>
          </a:p>
        </p:txBody>
      </p:sp>
      <p:sp>
        <p:nvSpPr>
          <p:cNvPr id="23" name="Rectangle 22"/>
          <p:cNvSpPr/>
          <p:nvPr userDrawn="1"/>
        </p:nvSpPr>
        <p:spPr>
          <a:xfrm>
            <a:off x="14282011" y="3711253"/>
            <a:ext cx="595070"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Light</a:t>
            </a:r>
            <a:br>
              <a:rPr lang="en-US" sz="600" b="1" dirty="0"/>
            </a:br>
            <a:r>
              <a:rPr lang="en-US" sz="600" b="1" dirty="0"/>
              <a:t>Claret</a:t>
            </a:r>
          </a:p>
          <a:p>
            <a:pPr marL="171450"/>
            <a:r>
              <a:rPr lang="en-US" sz="600" dirty="0"/>
              <a:t>R 203</a:t>
            </a:r>
          </a:p>
          <a:p>
            <a:pPr marL="171450"/>
            <a:r>
              <a:rPr lang="en-US" sz="600" dirty="0"/>
              <a:t>G 41</a:t>
            </a:r>
          </a:p>
          <a:p>
            <a:pPr marL="171450"/>
            <a:r>
              <a:rPr lang="en-US" sz="600" dirty="0"/>
              <a:t>B 128</a:t>
            </a:r>
          </a:p>
        </p:txBody>
      </p:sp>
      <p:sp>
        <p:nvSpPr>
          <p:cNvPr id="24" name="Rectangle 23"/>
          <p:cNvSpPr/>
          <p:nvPr userDrawn="1"/>
        </p:nvSpPr>
        <p:spPr>
          <a:xfrm>
            <a:off x="14282011" y="4330085"/>
            <a:ext cx="595070"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Claret</a:t>
            </a:r>
          </a:p>
          <a:p>
            <a:pPr marL="171450"/>
            <a:r>
              <a:rPr lang="en-US" sz="600" dirty="0"/>
              <a:t>R 134</a:t>
            </a:r>
          </a:p>
          <a:p>
            <a:pPr marL="171450"/>
            <a:r>
              <a:rPr lang="en-US" sz="600" dirty="0"/>
              <a:t>G 8</a:t>
            </a:r>
          </a:p>
          <a:p>
            <a:pPr marL="171450"/>
            <a:r>
              <a:rPr lang="en-US" sz="600" dirty="0"/>
              <a:t>B 100</a:t>
            </a:r>
          </a:p>
        </p:txBody>
      </p:sp>
      <p:sp>
        <p:nvSpPr>
          <p:cNvPr id="25" name="Rectangle 24"/>
          <p:cNvSpPr/>
          <p:nvPr userDrawn="1"/>
        </p:nvSpPr>
        <p:spPr>
          <a:xfrm>
            <a:off x="12496801" y="1405970"/>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26" name="Rectangle 25"/>
          <p:cNvSpPr/>
          <p:nvPr userDrawn="1"/>
        </p:nvSpPr>
        <p:spPr>
          <a:xfrm>
            <a:off x="12496801" y="2285400"/>
            <a:ext cx="843180"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Infographic</a:t>
            </a:r>
          </a:p>
        </p:txBody>
      </p:sp>
      <p:sp>
        <p:nvSpPr>
          <p:cNvPr id="27" name="Rectangle 26"/>
          <p:cNvSpPr/>
          <p:nvPr userDrawn="1"/>
        </p:nvSpPr>
        <p:spPr>
          <a:xfrm>
            <a:off x="13686941" y="1405970"/>
            <a:ext cx="75341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Secondary</a:t>
            </a:r>
          </a:p>
        </p:txBody>
      </p:sp>
      <p:sp>
        <p:nvSpPr>
          <p:cNvPr id="28" name="Rectangle 27"/>
          <p:cNvSpPr/>
          <p:nvPr userDrawn="1"/>
        </p:nvSpPr>
        <p:spPr>
          <a:xfrm>
            <a:off x="13686941" y="3711253"/>
            <a:ext cx="595070"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r>
              <a:rPr lang="en-US" sz="600" b="1" dirty="0"/>
              <a:t>Dark</a:t>
            </a:r>
            <a:br>
              <a:rPr lang="en-US" sz="600" b="1" dirty="0"/>
            </a:br>
            <a:r>
              <a:rPr lang="en-US" sz="600" b="1" dirty="0"/>
              <a:t>Purple</a:t>
            </a:r>
          </a:p>
          <a:p>
            <a:pPr marL="171450"/>
            <a:r>
              <a:rPr lang="en-US" sz="600" dirty="0"/>
              <a:t>R 71</a:t>
            </a:r>
          </a:p>
          <a:p>
            <a:pPr marL="171450"/>
            <a:r>
              <a:rPr lang="en-US" sz="600" dirty="0"/>
              <a:t>G 1</a:t>
            </a:r>
          </a:p>
          <a:p>
            <a:pPr marL="171450"/>
            <a:r>
              <a:rPr lang="en-US" sz="600" dirty="0"/>
              <a:t>B 167</a:t>
            </a:r>
          </a:p>
        </p:txBody>
      </p:sp>
    </p:spTree>
    <p:extLst>
      <p:ext uri="{BB962C8B-B14F-4D97-AF65-F5344CB8AC3E}">
        <p14:creationId xmlns:p14="http://schemas.microsoft.com/office/powerpoint/2010/main" val="2468604716"/>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6" r:id="rId5"/>
    <p:sldLayoutId id="2147483697" r:id="rId6"/>
    <p:sldLayoutId id="2147483698" r:id="rId7"/>
    <p:sldLayoutId id="2147483700" r:id="rId8"/>
    <p:sldLayoutId id="2147483701" r:id="rId9"/>
    <p:sldLayoutId id="2147483702" r:id="rId10"/>
    <p:sldLayoutId id="2147483709" r:id="rId11"/>
  </p:sldLayoutIdLst>
  <p:hf hdr="0" ftr="0" dt="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9" name="think-cell Slide" r:id="rId10" imgW="360" imgH="360" progId="">
                  <p:embed/>
                </p:oleObj>
              </mc:Choice>
              <mc:Fallback>
                <p:oleObj name="think-cell Slide" r:id="rId10" imgW="360" imgH="360" progId="">
                  <p:embed/>
                  <p:pic>
                    <p:nvPicPr>
                      <p:cNvPr id="21" name="Object 20"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26256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 name="Espace réservé du texte 3"/>
          <p:cNvSpPr>
            <a:spLocks noGrp="1"/>
          </p:cNvSpPr>
          <p:nvPr userDrawn="1">
            <p:ph type="body" idx="1"/>
          </p:nvPr>
        </p:nvSpPr>
        <p:spPr>
          <a:xfrm>
            <a:off x="227348" y="1268414"/>
            <a:ext cx="11700000" cy="5221286"/>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9144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229056154"/>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5" r:id="rId4"/>
    <p:sldLayoutId id="2147483716" r:id="rId5"/>
    <p:sldLayoutId id="2147483717" r:id="rId6"/>
  </p:sldLayoutIdLst>
  <p:hf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4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65">
          <p15:clr>
            <a:srgbClr val="F26B43"/>
          </p15:clr>
        </p15:guide>
        <p15:guide id="4" pos="143">
          <p15:clr>
            <a:srgbClr val="F26B43"/>
          </p15:clr>
        </p15:guide>
        <p15:guide id="5" orient="horz" pos="79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hyperlink" Target="https://www.figma.com/proto/v0Z3kDWfYn4otzxAjSWh1A/Mind-The-Cap-MVP?node-id=519%3A129&amp;viewport=-227%2C401%2C0.4847927391529083&amp;scaling=scale-down" TargetMode="Externa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hyperlink" Target="http://www.pngall.com/database-png" TargetMode="External"/><Relationship Id="rId7" Type="http://schemas.openxmlformats.org/officeDocument/2006/relationships/hyperlink" Target="https://openclipart.org/detail/163741/web-server" TargetMode="External"/><Relationship Id="rId2" Type="http://schemas.openxmlformats.org/officeDocument/2006/relationships/image" Target="../media/image19.png"/><Relationship Id="rId1" Type="http://schemas.openxmlformats.org/officeDocument/2006/relationships/slideLayout" Target="../slideLayouts/slideLayout10.xml"/><Relationship Id="rId6" Type="http://schemas.openxmlformats.org/officeDocument/2006/relationships/image" Target="../media/image21.png"/><Relationship Id="rId5" Type="http://schemas.openxmlformats.org/officeDocument/2006/relationships/hyperlink" Target="https://en.wikiversity.org/wiki/IT_Fundamentals/File_Systems" TargetMode="External"/><Relationship Id="rId10" Type="http://schemas.openxmlformats.org/officeDocument/2006/relationships/hyperlink" Target="https://graphicw.net/design/icons-2/%D8%A7%D9%8A%D9%82%D9%88%D9%86%D8%A7%D8%AA-%D9%84%D8%A3%D8%AC%D9%87%D8%B2%D8%A9-%D8%A7%D9%84%D8%A3%D8%A8%D9%84/" TargetMode="External"/><Relationship Id="rId4" Type="http://schemas.openxmlformats.org/officeDocument/2006/relationships/image" Target="../media/image20.png"/><Relationship Id="rId9" Type="http://schemas.microsoft.com/office/2007/relationships/hdphoto" Target="../media/hdphoto1.wdp"/></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hyperlink" Target="https://en.wikipedia.org/wiki/Microsoft_Teams" TargetMode="External"/><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hyperlink" Target="https://superuser.com/users/736666/confuzing" TargetMode="External"/><Relationship Id="rId7" Type="http://schemas.openxmlformats.org/officeDocument/2006/relationships/hyperlink" Target="https://www.maxpixels.net/Clients-Customers-Icons-Avatar-Presentations-2155431" TargetMode="External"/><Relationship Id="rId2" Type="http://schemas.openxmlformats.org/officeDocument/2006/relationships/image" Target="../media/image25.png"/><Relationship Id="rId1" Type="http://schemas.openxmlformats.org/officeDocument/2006/relationships/slideLayout" Target="../slideLayouts/slideLayout10.xml"/><Relationship Id="rId6" Type="http://schemas.openxmlformats.org/officeDocument/2006/relationships/image" Target="../media/image27.png"/><Relationship Id="rId5" Type="http://schemas.openxmlformats.org/officeDocument/2006/relationships/hyperlink" Target="https://nigeria.tradeportal.org/procedure/27/27/step/1393?l=en" TargetMode="External"/><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8096" y="2691423"/>
            <a:ext cx="7345704" cy="1475154"/>
          </a:xfrm>
        </p:spPr>
        <p:txBody>
          <a:bodyPr anchor="ctr">
            <a:noAutofit/>
          </a:bodyPr>
          <a:lstStyle/>
          <a:p>
            <a:pPr algn="l"/>
            <a:r>
              <a:rPr lang="en-US" sz="2800" b="0" dirty="0">
                <a:solidFill>
                  <a:schemeClr val="tx1"/>
                </a:solidFill>
                <a:latin typeface="Calibri" panose="020F0502020204030204" pitchFamily="34" charset="0"/>
                <a:cs typeface="Calibri" panose="020F0502020204030204" pitchFamily="34" charset="0"/>
              </a:rPr>
              <a:t>Status Updates for </a:t>
            </a:r>
            <a:br>
              <a:rPr lang="en-US" sz="4400" b="0" dirty="0">
                <a:solidFill>
                  <a:schemeClr val="tx1"/>
                </a:solidFill>
                <a:latin typeface="Calibri" panose="020F0502020204030204" pitchFamily="34" charset="0"/>
                <a:cs typeface="Calibri" panose="020F0502020204030204" pitchFamily="34" charset="0"/>
              </a:rPr>
            </a:br>
            <a:r>
              <a:rPr lang="en-US" sz="4400" b="0" dirty="0">
                <a:solidFill>
                  <a:schemeClr val="tx1"/>
                </a:solidFill>
                <a:latin typeface="Calibri" panose="020F0502020204030204" pitchFamily="34" charset="0"/>
                <a:cs typeface="Calibri" panose="020F0502020204030204" pitchFamily="34" charset="0"/>
              </a:rPr>
              <a:t>Mind the Cap </a:t>
            </a:r>
            <a:r>
              <a:rPr lang="en-US" sz="2800" b="0" dirty="0">
                <a:solidFill>
                  <a:schemeClr val="tx1"/>
                </a:solidFill>
                <a:latin typeface="Calibri" panose="020F0502020204030204" pitchFamily="34" charset="0"/>
                <a:cs typeface="Calibri" panose="020F0502020204030204" pitchFamily="34" charset="0"/>
              </a:rPr>
              <a:t>Portal</a:t>
            </a:r>
            <a:endParaRPr lang="en-US" sz="4400" b="0" i="1"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379850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0A352A9-C95E-47B5-844B-117F63D84404}"/>
              </a:ext>
            </a:extLst>
          </p:cNvPr>
          <p:cNvSpPr txBox="1">
            <a:spLocks/>
          </p:cNvSpPr>
          <p:nvPr/>
        </p:nvSpPr>
        <p:spPr>
          <a:xfrm>
            <a:off x="407988" y="404813"/>
            <a:ext cx="10944596" cy="865054"/>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SR Platform – Mind The Cap</a:t>
            </a:r>
          </a:p>
        </p:txBody>
      </p:sp>
      <p:grpSp>
        <p:nvGrpSpPr>
          <p:cNvPr id="8" name="Group 7">
            <a:extLst>
              <a:ext uri="{FF2B5EF4-FFF2-40B4-BE49-F238E27FC236}">
                <a16:creationId xmlns:a16="http://schemas.microsoft.com/office/drawing/2014/main" id="{9BBFA115-2927-4FE3-86CC-02667B54AFA5}"/>
              </a:ext>
            </a:extLst>
          </p:cNvPr>
          <p:cNvGrpSpPr/>
          <p:nvPr/>
        </p:nvGrpSpPr>
        <p:grpSpPr>
          <a:xfrm>
            <a:off x="167663" y="2196662"/>
            <a:ext cx="11856676" cy="865054"/>
            <a:chOff x="188179" y="1513490"/>
            <a:chExt cx="11856676" cy="865054"/>
          </a:xfrm>
        </p:grpSpPr>
        <p:sp>
          <p:nvSpPr>
            <p:cNvPr id="2" name="Arrow: Pentagon 1">
              <a:extLst>
                <a:ext uri="{FF2B5EF4-FFF2-40B4-BE49-F238E27FC236}">
                  <a16:creationId xmlns:a16="http://schemas.microsoft.com/office/drawing/2014/main" id="{27622E19-D94A-4222-A2B1-B9CF7AAD8E1E}"/>
                </a:ext>
              </a:extLst>
            </p:cNvPr>
            <p:cNvSpPr/>
            <p:nvPr/>
          </p:nvSpPr>
          <p:spPr>
            <a:xfrm>
              <a:off x="188179" y="1513490"/>
              <a:ext cx="3200400" cy="865054"/>
            </a:xfrm>
            <a:prstGeom prst="homePlate">
              <a:avLst/>
            </a:prstGeom>
            <a:solidFill>
              <a:srgbClr val="0070A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nceptualization</a:t>
              </a:r>
            </a:p>
          </p:txBody>
        </p:sp>
        <p:sp>
          <p:nvSpPr>
            <p:cNvPr id="5" name="Arrow: Chevron 4">
              <a:hlinkClick r:id="rId2"/>
              <a:extLst>
                <a:ext uri="{FF2B5EF4-FFF2-40B4-BE49-F238E27FC236}">
                  <a16:creationId xmlns:a16="http://schemas.microsoft.com/office/drawing/2014/main" id="{F4E32F27-537F-4270-89A6-09960D2D5CD0}"/>
                </a:ext>
              </a:extLst>
            </p:cNvPr>
            <p:cNvSpPr/>
            <p:nvPr/>
          </p:nvSpPr>
          <p:spPr>
            <a:xfrm>
              <a:off x="3073604" y="1513490"/>
              <a:ext cx="3200400" cy="865054"/>
            </a:xfrm>
            <a:prstGeom prst="chevron">
              <a:avLst/>
            </a:prstGeom>
            <a:solidFill>
              <a:srgbClr val="88D5E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solidFill>
                    <a:schemeClr val="tx1"/>
                  </a:solidFill>
                </a:rPr>
                <a:t>PoC</a:t>
              </a:r>
              <a:r>
                <a:rPr lang="en-US" dirty="0">
                  <a:solidFill>
                    <a:schemeClr val="tx1"/>
                  </a:solidFill>
                </a:rPr>
                <a:t>/ MVP</a:t>
              </a:r>
            </a:p>
          </p:txBody>
        </p:sp>
        <p:sp>
          <p:nvSpPr>
            <p:cNvPr id="6" name="Arrow: Chevron 5">
              <a:extLst>
                <a:ext uri="{FF2B5EF4-FFF2-40B4-BE49-F238E27FC236}">
                  <a16:creationId xmlns:a16="http://schemas.microsoft.com/office/drawing/2014/main" id="{5CBEADEB-F2F2-48B8-B23A-51DC5275EDFD}"/>
                </a:ext>
              </a:extLst>
            </p:cNvPr>
            <p:cNvSpPr/>
            <p:nvPr/>
          </p:nvSpPr>
          <p:spPr>
            <a:xfrm>
              <a:off x="5959029" y="1513490"/>
              <a:ext cx="3200400" cy="865054"/>
            </a:xfrm>
            <a:prstGeom prst="chevron">
              <a:avLst/>
            </a:prstGeom>
            <a:solidFill>
              <a:srgbClr val="0070A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cubation</a:t>
              </a:r>
            </a:p>
          </p:txBody>
        </p:sp>
        <p:sp>
          <p:nvSpPr>
            <p:cNvPr id="7" name="Arrow: Chevron 6">
              <a:extLst>
                <a:ext uri="{FF2B5EF4-FFF2-40B4-BE49-F238E27FC236}">
                  <a16:creationId xmlns:a16="http://schemas.microsoft.com/office/drawing/2014/main" id="{7278D70B-4C6A-4BD3-A869-BACFFDD5D6BA}"/>
                </a:ext>
              </a:extLst>
            </p:cNvPr>
            <p:cNvSpPr/>
            <p:nvPr/>
          </p:nvSpPr>
          <p:spPr>
            <a:xfrm>
              <a:off x="8844455" y="1513490"/>
              <a:ext cx="3200400" cy="865054"/>
            </a:xfrm>
            <a:prstGeom prst="chevron">
              <a:avLst/>
            </a:prstGeom>
            <a:solidFill>
              <a:srgbClr val="0070A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dustrialization</a:t>
              </a:r>
            </a:p>
          </p:txBody>
        </p:sp>
      </p:grpSp>
      <p:sp>
        <p:nvSpPr>
          <p:cNvPr id="4" name="Rectangle 3">
            <a:extLst>
              <a:ext uri="{FF2B5EF4-FFF2-40B4-BE49-F238E27FC236}">
                <a16:creationId xmlns:a16="http://schemas.microsoft.com/office/drawing/2014/main" id="{CA6278A3-24F3-4B18-8DAD-1126E57EE296}"/>
              </a:ext>
            </a:extLst>
          </p:cNvPr>
          <p:cNvSpPr/>
          <p:nvPr/>
        </p:nvSpPr>
        <p:spPr>
          <a:xfrm>
            <a:off x="167662" y="1088928"/>
            <a:ext cx="11856677" cy="708341"/>
          </a:xfrm>
          <a:prstGeom prst="rect">
            <a:avLst/>
          </a:prstGeom>
          <a:solidFill>
            <a:srgbClr val="00C37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To promote </a:t>
            </a:r>
            <a:r>
              <a:rPr lang="en-US" sz="1400" i="1" dirty="0"/>
              <a:t>employee engagement </a:t>
            </a:r>
            <a:r>
              <a:rPr lang="en-US" sz="1400" dirty="0"/>
              <a:t>&amp; </a:t>
            </a:r>
            <a:r>
              <a:rPr lang="en-US" sz="1400" i="1" dirty="0"/>
              <a:t>inter – department bonding </a:t>
            </a:r>
            <a:r>
              <a:rPr lang="en-US" sz="1400" dirty="0"/>
              <a:t>while highlighting the </a:t>
            </a:r>
            <a:r>
              <a:rPr lang="en-US" sz="1400" i="1" dirty="0"/>
              <a:t>importance of CSR </a:t>
            </a:r>
            <a:r>
              <a:rPr lang="en-US" sz="1400" dirty="0"/>
              <a:t>along with creating </a:t>
            </a:r>
            <a:r>
              <a:rPr lang="en-US" sz="1400" i="1" dirty="0"/>
              <a:t>ecological awareness and focused action</a:t>
            </a:r>
          </a:p>
        </p:txBody>
      </p:sp>
      <p:sp>
        <p:nvSpPr>
          <p:cNvPr id="9" name="Rectangle 8">
            <a:extLst>
              <a:ext uri="{FF2B5EF4-FFF2-40B4-BE49-F238E27FC236}">
                <a16:creationId xmlns:a16="http://schemas.microsoft.com/office/drawing/2014/main" id="{30990853-8536-4826-BB30-9029DA8DB53F}"/>
              </a:ext>
            </a:extLst>
          </p:cNvPr>
          <p:cNvSpPr/>
          <p:nvPr/>
        </p:nvSpPr>
        <p:spPr>
          <a:xfrm>
            <a:off x="165286" y="3369143"/>
            <a:ext cx="5715000" cy="2834640"/>
          </a:xfrm>
          <a:prstGeom prst="rect">
            <a:avLst/>
          </a:prstGeom>
          <a:solidFill>
            <a:srgbClr val="2B0A3D"/>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b="1" dirty="0"/>
              <a:t>Key Highlights</a:t>
            </a:r>
          </a:p>
          <a:p>
            <a:pPr marL="285750" indent="-285750">
              <a:buFont typeface="Arial" panose="020B0604020202020204" pitchFamily="34" charset="0"/>
              <a:buChar char="•"/>
            </a:pPr>
            <a:r>
              <a:rPr lang="en-US" dirty="0"/>
              <a:t>Mobile App : Front end as a Progressive Web App while back end Database is </a:t>
            </a:r>
            <a:r>
              <a:rPr lang="en-US" dirty="0" err="1"/>
              <a:t>FireStore</a:t>
            </a:r>
            <a:r>
              <a:rPr lang="en-US" dirty="0"/>
              <a:t> &amp; File Storage (Firebase Storage)</a:t>
            </a:r>
          </a:p>
          <a:p>
            <a:pPr marL="285750" indent="-285750">
              <a:buFont typeface="Arial" panose="020B0604020202020204" pitchFamily="34" charset="0"/>
              <a:buChar char="•"/>
            </a:pPr>
            <a:r>
              <a:rPr lang="en-US" dirty="0"/>
              <a:t>Google Analytics to capture user insights</a:t>
            </a:r>
          </a:p>
          <a:p>
            <a:pPr marL="285750" indent="-285750">
              <a:buFont typeface="Arial" panose="020B0604020202020204" pitchFamily="34" charset="0"/>
              <a:buChar char="•"/>
            </a:pPr>
            <a:r>
              <a:rPr lang="en-US" dirty="0"/>
              <a:t>Collaborating with AIE Team on MVP</a:t>
            </a:r>
          </a:p>
          <a:p>
            <a:pPr marL="285750" indent="-285750">
              <a:buFont typeface="Arial" panose="020B0604020202020204" pitchFamily="34" charset="0"/>
              <a:buChar char="•"/>
            </a:pPr>
            <a:r>
              <a:rPr lang="en-US" dirty="0"/>
              <a:t>Discussion with existing CSR Portal Vendor Partner for integration interface – </a:t>
            </a:r>
            <a:r>
              <a:rPr lang="en-US" dirty="0" err="1"/>
              <a:t>Goodera</a:t>
            </a:r>
            <a:endParaRPr lang="en-US" dirty="0"/>
          </a:p>
          <a:p>
            <a:pPr marL="285750" indent="-285750">
              <a:buFont typeface="Arial" panose="020B0604020202020204" pitchFamily="34" charset="0"/>
              <a:buChar char="•"/>
            </a:pPr>
            <a:r>
              <a:rPr lang="en-US" dirty="0"/>
              <a:t>Collaborating with Group CSR</a:t>
            </a:r>
          </a:p>
        </p:txBody>
      </p:sp>
      <p:sp>
        <p:nvSpPr>
          <p:cNvPr id="11" name="Rectangle 10">
            <a:extLst>
              <a:ext uri="{FF2B5EF4-FFF2-40B4-BE49-F238E27FC236}">
                <a16:creationId xmlns:a16="http://schemas.microsoft.com/office/drawing/2014/main" id="{ACC87958-E9D4-4310-B64C-16A46B083B6F}"/>
              </a:ext>
            </a:extLst>
          </p:cNvPr>
          <p:cNvSpPr/>
          <p:nvPr/>
        </p:nvSpPr>
        <p:spPr>
          <a:xfrm>
            <a:off x="6311716" y="3369143"/>
            <a:ext cx="5715000" cy="2834640"/>
          </a:xfrm>
          <a:prstGeom prst="rect">
            <a:avLst/>
          </a:prstGeom>
          <a:solidFill>
            <a:srgbClr val="2B0A3D"/>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b="1" dirty="0"/>
              <a:t>Next Steps</a:t>
            </a:r>
          </a:p>
          <a:p>
            <a:pPr marL="285750" indent="-285750">
              <a:buFont typeface="Arial" panose="020B0604020202020204" pitchFamily="34" charset="0"/>
              <a:buChar char="•"/>
            </a:pPr>
            <a:r>
              <a:rPr lang="en-US" dirty="0"/>
              <a:t>MVP Closed User Group Feedback</a:t>
            </a:r>
          </a:p>
          <a:p>
            <a:pPr marL="285750" indent="-285750">
              <a:buFont typeface="Arial" panose="020B0604020202020204" pitchFamily="34" charset="0"/>
              <a:buChar char="•"/>
            </a:pPr>
            <a:r>
              <a:rPr lang="en-US" dirty="0"/>
              <a:t>Hosting, Stabilization &amp; Soft Launch</a:t>
            </a:r>
          </a:p>
          <a:p>
            <a:pPr marL="285750" indent="-285750">
              <a:buFont typeface="Arial" panose="020B0604020202020204" pitchFamily="34" charset="0"/>
              <a:buChar char="•"/>
            </a:pPr>
            <a:r>
              <a:rPr lang="en-US" dirty="0"/>
              <a:t>Unique Features &amp; Backlog Definition (inclusive of existing </a:t>
            </a:r>
            <a:r>
              <a:rPr lang="en-US" dirty="0" err="1"/>
              <a:t>Goodera</a:t>
            </a:r>
            <a:r>
              <a:rPr lang="en-US" dirty="0"/>
              <a:t> Features)</a:t>
            </a:r>
          </a:p>
          <a:p>
            <a:pPr marL="285750" indent="-285750">
              <a:buFont typeface="Arial" panose="020B0604020202020204" pitchFamily="34" charset="0"/>
              <a:buChar char="•"/>
            </a:pPr>
            <a:r>
              <a:rPr lang="en-US" dirty="0"/>
              <a:t>Coopting Code Factory (Crowd Developers) for future development work</a:t>
            </a:r>
          </a:p>
          <a:p>
            <a:pPr marL="285750" indent="-285750">
              <a:buFont typeface="Arial" panose="020B0604020202020204" pitchFamily="34" charset="0"/>
              <a:buChar char="•"/>
            </a:pPr>
            <a:r>
              <a:rPr lang="en-US" dirty="0"/>
              <a:t>Collaborating with Capgemini Enterprise App Store (EAS)/ DCX team </a:t>
            </a:r>
          </a:p>
        </p:txBody>
      </p:sp>
    </p:spTree>
    <p:extLst>
      <p:ext uri="{BB962C8B-B14F-4D97-AF65-F5344CB8AC3E}">
        <p14:creationId xmlns:p14="http://schemas.microsoft.com/office/powerpoint/2010/main" val="15454078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6594E8AD-4545-4B4E-BCC7-5FEB300FF481}"/>
              </a:ext>
            </a:extLst>
          </p:cNvPr>
          <p:cNvSpPr txBox="1">
            <a:spLocks/>
          </p:cNvSpPr>
          <p:nvPr/>
        </p:nvSpPr>
        <p:spPr>
          <a:xfrm>
            <a:off x="407988" y="404813"/>
            <a:ext cx="10944596" cy="865054"/>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MVP Architecture</a:t>
            </a:r>
          </a:p>
        </p:txBody>
      </p:sp>
      <p:grpSp>
        <p:nvGrpSpPr>
          <p:cNvPr id="2" name="Group 1">
            <a:extLst>
              <a:ext uri="{FF2B5EF4-FFF2-40B4-BE49-F238E27FC236}">
                <a16:creationId xmlns:a16="http://schemas.microsoft.com/office/drawing/2014/main" id="{007F363B-C176-4568-9D14-C7EA0AC6723D}"/>
              </a:ext>
            </a:extLst>
          </p:cNvPr>
          <p:cNvGrpSpPr/>
          <p:nvPr/>
        </p:nvGrpSpPr>
        <p:grpSpPr>
          <a:xfrm>
            <a:off x="2199595" y="2986519"/>
            <a:ext cx="7792809" cy="1828800"/>
            <a:chOff x="2189390" y="4690870"/>
            <a:chExt cx="7792809" cy="1828800"/>
          </a:xfrm>
        </p:grpSpPr>
        <p:sp>
          <p:nvSpPr>
            <p:cNvPr id="11" name="Rectangle 10">
              <a:extLst>
                <a:ext uri="{FF2B5EF4-FFF2-40B4-BE49-F238E27FC236}">
                  <a16:creationId xmlns:a16="http://schemas.microsoft.com/office/drawing/2014/main" id="{544805BB-4810-41DC-9DDD-98915E4FB8DC}"/>
                </a:ext>
              </a:extLst>
            </p:cNvPr>
            <p:cNvSpPr/>
            <p:nvPr/>
          </p:nvSpPr>
          <p:spPr>
            <a:xfrm>
              <a:off x="2189390" y="4690870"/>
              <a:ext cx="7792809" cy="18288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Backend</a:t>
              </a:r>
            </a:p>
          </p:txBody>
        </p:sp>
        <p:sp>
          <p:nvSpPr>
            <p:cNvPr id="18" name="Rectangle: Rounded Corners 17">
              <a:extLst>
                <a:ext uri="{FF2B5EF4-FFF2-40B4-BE49-F238E27FC236}">
                  <a16:creationId xmlns:a16="http://schemas.microsoft.com/office/drawing/2014/main" id="{FF36DD47-FB84-4DC2-A0E0-92D9ACB72859}"/>
                </a:ext>
              </a:extLst>
            </p:cNvPr>
            <p:cNvSpPr/>
            <p:nvPr/>
          </p:nvSpPr>
          <p:spPr>
            <a:xfrm>
              <a:off x="3302797" y="6092318"/>
              <a:ext cx="2011680" cy="2743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Google </a:t>
              </a:r>
              <a:r>
                <a:rPr lang="en-US" sz="1400" dirty="0" err="1"/>
                <a:t>FireStore</a:t>
              </a:r>
              <a:endParaRPr lang="en-US" sz="1400" dirty="0"/>
            </a:p>
          </p:txBody>
        </p:sp>
        <p:pic>
          <p:nvPicPr>
            <p:cNvPr id="27" name="Picture 26" descr="A picture containing bird&#10;&#10;Description automatically generated">
              <a:extLst>
                <a:ext uri="{FF2B5EF4-FFF2-40B4-BE49-F238E27FC236}">
                  <a16:creationId xmlns:a16="http://schemas.microsoft.com/office/drawing/2014/main" id="{6FD74BDA-F439-4212-A188-D643651A437F}"/>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942877" y="5276055"/>
              <a:ext cx="731520" cy="731520"/>
            </a:xfrm>
            <a:prstGeom prst="rect">
              <a:avLst/>
            </a:prstGeom>
          </p:spPr>
        </p:pic>
        <p:sp>
          <p:nvSpPr>
            <p:cNvPr id="28" name="Rectangle: Rounded Corners 27">
              <a:extLst>
                <a:ext uri="{FF2B5EF4-FFF2-40B4-BE49-F238E27FC236}">
                  <a16:creationId xmlns:a16="http://schemas.microsoft.com/office/drawing/2014/main" id="{C07C6189-771A-49FD-BE0C-424A70D9B73F}"/>
                </a:ext>
              </a:extLst>
            </p:cNvPr>
            <p:cNvSpPr/>
            <p:nvPr/>
          </p:nvSpPr>
          <p:spPr>
            <a:xfrm>
              <a:off x="7119969" y="6098418"/>
              <a:ext cx="2011680" cy="2743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Google </a:t>
              </a:r>
              <a:r>
                <a:rPr lang="en-US" sz="1400" dirty="0" err="1"/>
                <a:t>FireBase</a:t>
              </a:r>
              <a:endParaRPr lang="en-US" sz="1400" dirty="0"/>
            </a:p>
          </p:txBody>
        </p:sp>
        <p:pic>
          <p:nvPicPr>
            <p:cNvPr id="29" name="Picture 28" descr="A picture containing monitor, sitting, white, small&#10;&#10;Description automatically generated">
              <a:extLst>
                <a:ext uri="{FF2B5EF4-FFF2-40B4-BE49-F238E27FC236}">
                  <a16:creationId xmlns:a16="http://schemas.microsoft.com/office/drawing/2014/main" id="{3AF7181A-0313-4337-996D-9D01EBC9AC3E}"/>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7760049" y="5282155"/>
              <a:ext cx="731520" cy="731520"/>
            </a:xfrm>
            <a:prstGeom prst="rect">
              <a:avLst/>
            </a:prstGeom>
          </p:spPr>
        </p:pic>
      </p:grpSp>
      <p:grpSp>
        <p:nvGrpSpPr>
          <p:cNvPr id="3" name="Group 2">
            <a:extLst>
              <a:ext uri="{FF2B5EF4-FFF2-40B4-BE49-F238E27FC236}">
                <a16:creationId xmlns:a16="http://schemas.microsoft.com/office/drawing/2014/main" id="{EC239663-35E7-47E4-B97D-A85367840653}"/>
              </a:ext>
            </a:extLst>
          </p:cNvPr>
          <p:cNvGrpSpPr/>
          <p:nvPr/>
        </p:nvGrpSpPr>
        <p:grpSpPr>
          <a:xfrm>
            <a:off x="2189390" y="4965190"/>
            <a:ext cx="7792810" cy="1554480"/>
            <a:chOff x="2189390" y="2966904"/>
            <a:chExt cx="7792810" cy="1554480"/>
          </a:xfrm>
        </p:grpSpPr>
        <p:sp>
          <p:nvSpPr>
            <p:cNvPr id="32" name="Rectangle 31">
              <a:extLst>
                <a:ext uri="{FF2B5EF4-FFF2-40B4-BE49-F238E27FC236}">
                  <a16:creationId xmlns:a16="http://schemas.microsoft.com/office/drawing/2014/main" id="{AF80BBE8-29EE-4237-B9E6-18AC681A1BB6}"/>
                </a:ext>
              </a:extLst>
            </p:cNvPr>
            <p:cNvSpPr/>
            <p:nvPr/>
          </p:nvSpPr>
          <p:spPr>
            <a:xfrm>
              <a:off x="2189390" y="2966904"/>
              <a:ext cx="7792810" cy="15544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CI/CD, Deployment, Hosting</a:t>
              </a:r>
            </a:p>
          </p:txBody>
        </p:sp>
        <p:sp>
          <p:nvSpPr>
            <p:cNvPr id="35" name="Rectangle: Rounded Corners 34">
              <a:extLst>
                <a:ext uri="{FF2B5EF4-FFF2-40B4-BE49-F238E27FC236}">
                  <a16:creationId xmlns:a16="http://schemas.microsoft.com/office/drawing/2014/main" id="{0CDE1AF0-71C6-4C55-AB02-C2E993217279}"/>
                </a:ext>
              </a:extLst>
            </p:cNvPr>
            <p:cNvSpPr/>
            <p:nvPr/>
          </p:nvSpPr>
          <p:spPr>
            <a:xfrm>
              <a:off x="5090160" y="4115139"/>
              <a:ext cx="2011680" cy="2743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t>Netlify</a:t>
              </a:r>
              <a:endParaRPr lang="en-US" sz="1400" dirty="0"/>
            </a:p>
          </p:txBody>
        </p:sp>
        <p:pic>
          <p:nvPicPr>
            <p:cNvPr id="37" name="Picture 36" descr="A picture containing computer&#10;&#10;Description automatically generated">
              <a:extLst>
                <a:ext uri="{FF2B5EF4-FFF2-40B4-BE49-F238E27FC236}">
                  <a16:creationId xmlns:a16="http://schemas.microsoft.com/office/drawing/2014/main" id="{6311A30A-0DBF-4C9A-9DFE-35B8B9EC46EE}"/>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5790742" y="3312957"/>
              <a:ext cx="610516" cy="731520"/>
            </a:xfrm>
            <a:prstGeom prst="rect">
              <a:avLst/>
            </a:prstGeom>
          </p:spPr>
        </p:pic>
      </p:grpSp>
      <p:sp>
        <p:nvSpPr>
          <p:cNvPr id="38" name="Rectangle 37">
            <a:extLst>
              <a:ext uri="{FF2B5EF4-FFF2-40B4-BE49-F238E27FC236}">
                <a16:creationId xmlns:a16="http://schemas.microsoft.com/office/drawing/2014/main" id="{9143BBD6-672D-443B-B024-5AF065EC5054}"/>
              </a:ext>
            </a:extLst>
          </p:cNvPr>
          <p:cNvSpPr/>
          <p:nvPr/>
        </p:nvSpPr>
        <p:spPr>
          <a:xfrm>
            <a:off x="374878" y="1269867"/>
            <a:ext cx="1599841" cy="522287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Prototyping</a:t>
            </a:r>
          </a:p>
        </p:txBody>
      </p:sp>
      <p:grpSp>
        <p:nvGrpSpPr>
          <p:cNvPr id="53" name="Group 52">
            <a:extLst>
              <a:ext uri="{FF2B5EF4-FFF2-40B4-BE49-F238E27FC236}">
                <a16:creationId xmlns:a16="http://schemas.microsoft.com/office/drawing/2014/main" id="{05C2AB41-606C-4476-BB3D-100AA6D4E5D7}"/>
              </a:ext>
            </a:extLst>
          </p:cNvPr>
          <p:cNvGrpSpPr/>
          <p:nvPr/>
        </p:nvGrpSpPr>
        <p:grpSpPr>
          <a:xfrm>
            <a:off x="717598" y="3306560"/>
            <a:ext cx="914400" cy="1149489"/>
            <a:chOff x="692228" y="3140741"/>
            <a:chExt cx="914400" cy="1149489"/>
          </a:xfrm>
        </p:grpSpPr>
        <p:sp>
          <p:nvSpPr>
            <p:cNvPr id="39" name="Rectangle: Rounded Corners 38">
              <a:extLst>
                <a:ext uri="{FF2B5EF4-FFF2-40B4-BE49-F238E27FC236}">
                  <a16:creationId xmlns:a16="http://schemas.microsoft.com/office/drawing/2014/main" id="{EDDB5A85-C817-410C-9B56-BF801AD9742D}"/>
                </a:ext>
              </a:extLst>
            </p:cNvPr>
            <p:cNvSpPr/>
            <p:nvPr/>
          </p:nvSpPr>
          <p:spPr>
            <a:xfrm>
              <a:off x="692228" y="4015910"/>
              <a:ext cx="914400" cy="2743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t>Figma</a:t>
              </a:r>
              <a:endParaRPr lang="en-US" sz="1400" dirty="0"/>
            </a:p>
          </p:txBody>
        </p:sp>
        <p:pic>
          <p:nvPicPr>
            <p:cNvPr id="40" name="Picture 39" descr="A picture containing computer&#10;&#10;Description automatically generated">
              <a:extLst>
                <a:ext uri="{FF2B5EF4-FFF2-40B4-BE49-F238E27FC236}">
                  <a16:creationId xmlns:a16="http://schemas.microsoft.com/office/drawing/2014/main" id="{8BCC1393-24E2-4B6F-875C-DA85158C3724}"/>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890866" y="3140741"/>
              <a:ext cx="610516" cy="731520"/>
            </a:xfrm>
            <a:prstGeom prst="rect">
              <a:avLst/>
            </a:prstGeom>
          </p:spPr>
        </p:pic>
      </p:grpSp>
      <p:sp>
        <p:nvSpPr>
          <p:cNvPr id="43" name="Rectangle 42">
            <a:extLst>
              <a:ext uri="{FF2B5EF4-FFF2-40B4-BE49-F238E27FC236}">
                <a16:creationId xmlns:a16="http://schemas.microsoft.com/office/drawing/2014/main" id="{B3D89D46-C4B2-4323-B661-6E4B9A1A9812}"/>
              </a:ext>
            </a:extLst>
          </p:cNvPr>
          <p:cNvSpPr/>
          <p:nvPr/>
        </p:nvSpPr>
        <p:spPr>
          <a:xfrm>
            <a:off x="2189390" y="1269865"/>
            <a:ext cx="7792810" cy="15544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Front End</a:t>
            </a:r>
          </a:p>
        </p:txBody>
      </p:sp>
      <p:sp>
        <p:nvSpPr>
          <p:cNvPr id="44" name="Rectangle: Rounded Corners 43">
            <a:extLst>
              <a:ext uri="{FF2B5EF4-FFF2-40B4-BE49-F238E27FC236}">
                <a16:creationId xmlns:a16="http://schemas.microsoft.com/office/drawing/2014/main" id="{D597B199-02D4-4816-A4F9-655195B39ACE}"/>
              </a:ext>
            </a:extLst>
          </p:cNvPr>
          <p:cNvSpPr/>
          <p:nvPr/>
        </p:nvSpPr>
        <p:spPr>
          <a:xfrm>
            <a:off x="4394155" y="2422741"/>
            <a:ext cx="3383280" cy="2743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rogressive Web Architecture</a:t>
            </a:r>
          </a:p>
        </p:txBody>
      </p:sp>
      <p:pic>
        <p:nvPicPr>
          <p:cNvPr id="47" name="Picture 46" descr="A screenshot of a cell phone&#10;&#10;Description automatically generated">
            <a:extLst>
              <a:ext uri="{FF2B5EF4-FFF2-40B4-BE49-F238E27FC236}">
                <a16:creationId xmlns:a16="http://schemas.microsoft.com/office/drawing/2014/main" id="{83214EFB-B7FB-4467-830C-50D6C73475A7}"/>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46325" b="72657" l="80542" r="86702"/>
                    </a14:imgEffect>
                  </a14:imgLayer>
                </a14:imgProps>
              </a:ext>
              <a:ext uri="{28A0092B-C50C-407E-A947-70E740481C1C}">
                <a14:useLocalDpi xmlns:a14="http://schemas.microsoft.com/office/drawing/2010/main" val="0"/>
              </a:ext>
              <a:ext uri="{837473B0-CC2E-450A-ABE3-18F120FF3D39}">
                <a1611:picAttrSrcUrl xmlns:a1611="http://schemas.microsoft.com/office/drawing/2016/11/main" r:id="rId10"/>
              </a:ext>
            </a:extLst>
          </a:blip>
          <a:srcRect l="79772" t="43034" r="12528" b="24051"/>
          <a:stretch/>
        </p:blipFill>
        <p:spPr>
          <a:xfrm>
            <a:off x="5871869" y="1682567"/>
            <a:ext cx="427852" cy="731520"/>
          </a:xfrm>
          <a:prstGeom prst="rect">
            <a:avLst/>
          </a:prstGeom>
        </p:spPr>
      </p:pic>
      <p:sp>
        <p:nvSpPr>
          <p:cNvPr id="50" name="Rectangle 49">
            <a:extLst>
              <a:ext uri="{FF2B5EF4-FFF2-40B4-BE49-F238E27FC236}">
                <a16:creationId xmlns:a16="http://schemas.microsoft.com/office/drawing/2014/main" id="{4CB300C0-D10E-4640-8F26-7D624FEC3C02}"/>
              </a:ext>
            </a:extLst>
          </p:cNvPr>
          <p:cNvSpPr/>
          <p:nvPr/>
        </p:nvSpPr>
        <p:spPr>
          <a:xfrm>
            <a:off x="10217281" y="1269867"/>
            <a:ext cx="1599841" cy="522287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User Analytics</a:t>
            </a:r>
          </a:p>
        </p:txBody>
      </p:sp>
      <p:grpSp>
        <p:nvGrpSpPr>
          <p:cNvPr id="54" name="Group 53">
            <a:extLst>
              <a:ext uri="{FF2B5EF4-FFF2-40B4-BE49-F238E27FC236}">
                <a16:creationId xmlns:a16="http://schemas.microsoft.com/office/drawing/2014/main" id="{B8B9E2BA-ECFA-4F22-B386-7861053D3CE7}"/>
              </a:ext>
            </a:extLst>
          </p:cNvPr>
          <p:cNvGrpSpPr/>
          <p:nvPr/>
        </p:nvGrpSpPr>
        <p:grpSpPr>
          <a:xfrm>
            <a:off x="10468561" y="3169399"/>
            <a:ext cx="1097280" cy="1423809"/>
            <a:chOff x="10468561" y="3140741"/>
            <a:chExt cx="1097280" cy="1423809"/>
          </a:xfrm>
        </p:grpSpPr>
        <p:sp>
          <p:nvSpPr>
            <p:cNvPr id="51" name="Rectangle: Rounded Corners 50">
              <a:extLst>
                <a:ext uri="{FF2B5EF4-FFF2-40B4-BE49-F238E27FC236}">
                  <a16:creationId xmlns:a16="http://schemas.microsoft.com/office/drawing/2014/main" id="{C7D28760-5831-422F-B34A-FB447BA4D047}"/>
                </a:ext>
              </a:extLst>
            </p:cNvPr>
            <p:cNvSpPr/>
            <p:nvPr/>
          </p:nvSpPr>
          <p:spPr>
            <a:xfrm>
              <a:off x="10468561" y="4015910"/>
              <a:ext cx="1097280" cy="5486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Google Analytics</a:t>
              </a:r>
            </a:p>
          </p:txBody>
        </p:sp>
        <p:pic>
          <p:nvPicPr>
            <p:cNvPr id="52" name="Picture 51" descr="A picture containing computer&#10;&#10;Description automatically generated">
              <a:extLst>
                <a:ext uri="{FF2B5EF4-FFF2-40B4-BE49-F238E27FC236}">
                  <a16:creationId xmlns:a16="http://schemas.microsoft.com/office/drawing/2014/main" id="{2C53A76B-4944-4C13-A5F2-51C94EBBFA58}"/>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10711943" y="3140741"/>
              <a:ext cx="610516" cy="731520"/>
            </a:xfrm>
            <a:prstGeom prst="rect">
              <a:avLst/>
            </a:prstGeom>
          </p:spPr>
        </p:pic>
      </p:grpSp>
    </p:spTree>
    <p:extLst>
      <p:ext uri="{BB962C8B-B14F-4D97-AF65-F5344CB8AC3E}">
        <p14:creationId xmlns:p14="http://schemas.microsoft.com/office/powerpoint/2010/main" val="25958012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CE54A9AB-6D8E-4284-9C21-78D5DDCDB18F}"/>
              </a:ext>
            </a:extLst>
          </p:cNvPr>
          <p:cNvSpPr/>
          <p:nvPr/>
        </p:nvSpPr>
        <p:spPr>
          <a:xfrm>
            <a:off x="945932" y="1293326"/>
            <a:ext cx="7315200" cy="4572000"/>
          </a:xfrm>
          <a:prstGeom prst="ellipse">
            <a:avLst/>
          </a:prstGeom>
          <a:solidFill>
            <a:srgbClr val="00C37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E2864EBE-3A3C-4DE7-84D6-EEF2178EDDFF}"/>
              </a:ext>
            </a:extLst>
          </p:cNvPr>
          <p:cNvSpPr/>
          <p:nvPr/>
        </p:nvSpPr>
        <p:spPr>
          <a:xfrm>
            <a:off x="3930868" y="1293326"/>
            <a:ext cx="7315200" cy="4572000"/>
          </a:xfrm>
          <a:prstGeom prst="ellipse">
            <a:avLst/>
          </a:prstGeom>
          <a:solidFill>
            <a:srgbClr val="0070AD">
              <a:alpha val="5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94B6D6A4-A67D-45BF-8662-33130BA87F56}"/>
              </a:ext>
            </a:extLst>
          </p:cNvPr>
          <p:cNvSpPr txBox="1"/>
          <p:nvPr/>
        </p:nvSpPr>
        <p:spPr>
          <a:xfrm>
            <a:off x="2596056" y="5865326"/>
            <a:ext cx="3499944" cy="369332"/>
          </a:xfrm>
          <a:prstGeom prst="rect">
            <a:avLst/>
          </a:prstGeom>
          <a:noFill/>
        </p:spPr>
        <p:txBody>
          <a:bodyPr wrap="square" rtlCol="0">
            <a:spAutoFit/>
          </a:bodyPr>
          <a:lstStyle/>
          <a:p>
            <a:pPr algn="ctr"/>
            <a:r>
              <a:rPr lang="en-US" dirty="0" err="1"/>
              <a:t>Goodera</a:t>
            </a:r>
            <a:r>
              <a:rPr lang="en-US" dirty="0"/>
              <a:t> CSR Platform</a:t>
            </a:r>
          </a:p>
        </p:txBody>
      </p:sp>
      <p:sp>
        <p:nvSpPr>
          <p:cNvPr id="5" name="TextBox 4">
            <a:extLst>
              <a:ext uri="{FF2B5EF4-FFF2-40B4-BE49-F238E27FC236}">
                <a16:creationId xmlns:a16="http://schemas.microsoft.com/office/drawing/2014/main" id="{9A4E2F25-EF66-4F0B-8031-FE391CA0C3F8}"/>
              </a:ext>
            </a:extLst>
          </p:cNvPr>
          <p:cNvSpPr txBox="1"/>
          <p:nvPr/>
        </p:nvSpPr>
        <p:spPr>
          <a:xfrm>
            <a:off x="6511160" y="5865326"/>
            <a:ext cx="3499944" cy="369332"/>
          </a:xfrm>
          <a:prstGeom prst="rect">
            <a:avLst/>
          </a:prstGeom>
          <a:noFill/>
        </p:spPr>
        <p:txBody>
          <a:bodyPr wrap="square" rtlCol="0">
            <a:spAutoFit/>
          </a:bodyPr>
          <a:lstStyle/>
          <a:p>
            <a:pPr algn="ctr"/>
            <a:r>
              <a:rPr lang="en-US" dirty="0"/>
              <a:t>Mind The Cap</a:t>
            </a:r>
          </a:p>
        </p:txBody>
      </p:sp>
      <p:sp>
        <p:nvSpPr>
          <p:cNvPr id="6" name="TextBox 5">
            <a:extLst>
              <a:ext uri="{FF2B5EF4-FFF2-40B4-BE49-F238E27FC236}">
                <a16:creationId xmlns:a16="http://schemas.microsoft.com/office/drawing/2014/main" id="{ACAA7943-F9F5-4607-9FDF-E4C39C69677E}"/>
              </a:ext>
            </a:extLst>
          </p:cNvPr>
          <p:cNvSpPr txBox="1"/>
          <p:nvPr/>
        </p:nvSpPr>
        <p:spPr>
          <a:xfrm>
            <a:off x="5412828" y="1817900"/>
            <a:ext cx="1543708" cy="523220"/>
          </a:xfrm>
          <a:prstGeom prst="rect">
            <a:avLst/>
          </a:prstGeom>
          <a:noFill/>
        </p:spPr>
        <p:txBody>
          <a:bodyPr wrap="square" rtlCol="0">
            <a:spAutoFit/>
          </a:bodyPr>
          <a:lstStyle/>
          <a:p>
            <a:pPr algn="ctr"/>
            <a:r>
              <a:rPr lang="en-US" sz="1400" dirty="0"/>
              <a:t>Physical Volunteering</a:t>
            </a:r>
          </a:p>
        </p:txBody>
      </p:sp>
      <p:sp>
        <p:nvSpPr>
          <p:cNvPr id="7" name="TextBox 6">
            <a:extLst>
              <a:ext uri="{FF2B5EF4-FFF2-40B4-BE49-F238E27FC236}">
                <a16:creationId xmlns:a16="http://schemas.microsoft.com/office/drawing/2014/main" id="{A40B27E6-F659-41E3-BB72-2BD95FF9FB23}"/>
              </a:ext>
            </a:extLst>
          </p:cNvPr>
          <p:cNvSpPr txBox="1"/>
          <p:nvPr/>
        </p:nvSpPr>
        <p:spPr>
          <a:xfrm>
            <a:off x="5776748" y="2617212"/>
            <a:ext cx="2257096" cy="523220"/>
          </a:xfrm>
          <a:prstGeom prst="rect">
            <a:avLst/>
          </a:prstGeom>
          <a:noFill/>
        </p:spPr>
        <p:txBody>
          <a:bodyPr wrap="square" rtlCol="0">
            <a:spAutoFit/>
          </a:bodyPr>
          <a:lstStyle/>
          <a:p>
            <a:pPr algn="ctr"/>
            <a:r>
              <a:rPr lang="en-US" sz="1400" dirty="0"/>
              <a:t>Intra Team/ Company Campaign </a:t>
            </a:r>
          </a:p>
        </p:txBody>
      </p:sp>
      <p:sp>
        <p:nvSpPr>
          <p:cNvPr id="8" name="TextBox 7">
            <a:extLst>
              <a:ext uri="{FF2B5EF4-FFF2-40B4-BE49-F238E27FC236}">
                <a16:creationId xmlns:a16="http://schemas.microsoft.com/office/drawing/2014/main" id="{1EEA7906-6340-4604-AC68-2E2BA3042F3D}"/>
              </a:ext>
            </a:extLst>
          </p:cNvPr>
          <p:cNvSpPr txBox="1"/>
          <p:nvPr/>
        </p:nvSpPr>
        <p:spPr>
          <a:xfrm>
            <a:off x="4238626" y="2545139"/>
            <a:ext cx="1436632" cy="523220"/>
          </a:xfrm>
          <a:prstGeom prst="rect">
            <a:avLst/>
          </a:prstGeom>
          <a:noFill/>
        </p:spPr>
        <p:txBody>
          <a:bodyPr wrap="square" rtlCol="0">
            <a:spAutoFit/>
          </a:bodyPr>
          <a:lstStyle/>
          <a:p>
            <a:pPr algn="ctr"/>
            <a:r>
              <a:rPr lang="en-US" sz="1400" dirty="0"/>
              <a:t>Virtual Volunteering</a:t>
            </a:r>
          </a:p>
        </p:txBody>
      </p:sp>
      <p:sp>
        <p:nvSpPr>
          <p:cNvPr id="9" name="TextBox 8">
            <a:extLst>
              <a:ext uri="{FF2B5EF4-FFF2-40B4-BE49-F238E27FC236}">
                <a16:creationId xmlns:a16="http://schemas.microsoft.com/office/drawing/2014/main" id="{C1C8DD05-4E66-4F68-BD64-CFC9348BFBBB}"/>
              </a:ext>
            </a:extLst>
          </p:cNvPr>
          <p:cNvSpPr txBox="1"/>
          <p:nvPr/>
        </p:nvSpPr>
        <p:spPr>
          <a:xfrm>
            <a:off x="6511160" y="3580003"/>
            <a:ext cx="1436633" cy="523220"/>
          </a:xfrm>
          <a:prstGeom prst="rect">
            <a:avLst/>
          </a:prstGeom>
          <a:noFill/>
        </p:spPr>
        <p:txBody>
          <a:bodyPr wrap="square" rtlCol="0">
            <a:spAutoFit/>
          </a:bodyPr>
          <a:lstStyle/>
          <a:p>
            <a:pPr algn="ctr"/>
            <a:r>
              <a:rPr lang="en-US" sz="1400" dirty="0"/>
              <a:t>Mind Points/ Karma Points</a:t>
            </a:r>
          </a:p>
        </p:txBody>
      </p:sp>
      <p:sp>
        <p:nvSpPr>
          <p:cNvPr id="10" name="TextBox 9">
            <a:extLst>
              <a:ext uri="{FF2B5EF4-FFF2-40B4-BE49-F238E27FC236}">
                <a16:creationId xmlns:a16="http://schemas.microsoft.com/office/drawing/2014/main" id="{12FBDDC4-87AD-4D15-AA38-14F2E8D43152}"/>
              </a:ext>
            </a:extLst>
          </p:cNvPr>
          <p:cNvSpPr txBox="1"/>
          <p:nvPr/>
        </p:nvSpPr>
        <p:spPr>
          <a:xfrm>
            <a:off x="4913586" y="4058562"/>
            <a:ext cx="1436633" cy="523220"/>
          </a:xfrm>
          <a:prstGeom prst="rect">
            <a:avLst/>
          </a:prstGeom>
          <a:noFill/>
        </p:spPr>
        <p:txBody>
          <a:bodyPr wrap="square" rtlCol="0">
            <a:spAutoFit/>
          </a:bodyPr>
          <a:lstStyle/>
          <a:p>
            <a:pPr algn="ctr"/>
            <a:r>
              <a:rPr lang="en-US" sz="1400" dirty="0"/>
              <a:t>Reports/ Dashboard</a:t>
            </a:r>
          </a:p>
        </p:txBody>
      </p:sp>
      <p:sp>
        <p:nvSpPr>
          <p:cNvPr id="12" name="TextBox 11">
            <a:extLst>
              <a:ext uri="{FF2B5EF4-FFF2-40B4-BE49-F238E27FC236}">
                <a16:creationId xmlns:a16="http://schemas.microsoft.com/office/drawing/2014/main" id="{94B5F4AB-4CE3-4C31-BA5A-384502940BB1}"/>
              </a:ext>
            </a:extLst>
          </p:cNvPr>
          <p:cNvSpPr txBox="1"/>
          <p:nvPr/>
        </p:nvSpPr>
        <p:spPr>
          <a:xfrm>
            <a:off x="3622785" y="1506746"/>
            <a:ext cx="1307224" cy="523220"/>
          </a:xfrm>
          <a:prstGeom prst="rect">
            <a:avLst/>
          </a:prstGeom>
          <a:noFill/>
        </p:spPr>
        <p:txBody>
          <a:bodyPr wrap="square" rtlCol="0">
            <a:spAutoFit/>
          </a:bodyPr>
          <a:lstStyle/>
          <a:p>
            <a:pPr algn="ctr"/>
            <a:r>
              <a:rPr lang="en-US" sz="1400" dirty="0"/>
              <a:t>Marketplace for NGO</a:t>
            </a:r>
          </a:p>
        </p:txBody>
      </p:sp>
      <p:sp>
        <p:nvSpPr>
          <p:cNvPr id="13" name="TextBox 12">
            <a:extLst>
              <a:ext uri="{FF2B5EF4-FFF2-40B4-BE49-F238E27FC236}">
                <a16:creationId xmlns:a16="http://schemas.microsoft.com/office/drawing/2014/main" id="{AEF9CB51-60E7-4BCC-86A3-CC1E54C190F6}"/>
              </a:ext>
            </a:extLst>
          </p:cNvPr>
          <p:cNvSpPr txBox="1"/>
          <p:nvPr/>
        </p:nvSpPr>
        <p:spPr>
          <a:xfrm>
            <a:off x="2111264" y="2070629"/>
            <a:ext cx="1694794" cy="523220"/>
          </a:xfrm>
          <a:prstGeom prst="rect">
            <a:avLst/>
          </a:prstGeom>
          <a:noFill/>
        </p:spPr>
        <p:txBody>
          <a:bodyPr wrap="square" rtlCol="0">
            <a:spAutoFit/>
          </a:bodyPr>
          <a:lstStyle/>
          <a:p>
            <a:pPr algn="ctr"/>
            <a:r>
              <a:rPr lang="en-US" sz="1400" dirty="0"/>
              <a:t>WhatsApp based Collaboration</a:t>
            </a:r>
          </a:p>
        </p:txBody>
      </p:sp>
      <p:sp>
        <p:nvSpPr>
          <p:cNvPr id="14" name="TextBox 13">
            <a:extLst>
              <a:ext uri="{FF2B5EF4-FFF2-40B4-BE49-F238E27FC236}">
                <a16:creationId xmlns:a16="http://schemas.microsoft.com/office/drawing/2014/main" id="{A73F9E2F-B7CE-4BA3-A7B0-6FA14695BC5B}"/>
              </a:ext>
            </a:extLst>
          </p:cNvPr>
          <p:cNvSpPr txBox="1"/>
          <p:nvPr/>
        </p:nvSpPr>
        <p:spPr>
          <a:xfrm>
            <a:off x="4037943" y="3451874"/>
            <a:ext cx="1436633" cy="523220"/>
          </a:xfrm>
          <a:prstGeom prst="rect">
            <a:avLst/>
          </a:prstGeom>
          <a:noFill/>
        </p:spPr>
        <p:txBody>
          <a:bodyPr wrap="square" rtlCol="0">
            <a:spAutoFit/>
          </a:bodyPr>
          <a:lstStyle/>
          <a:p>
            <a:pPr algn="ctr"/>
            <a:r>
              <a:rPr lang="en-US" sz="1400" dirty="0"/>
              <a:t>Ecological Awareness</a:t>
            </a:r>
          </a:p>
        </p:txBody>
      </p:sp>
      <p:sp>
        <p:nvSpPr>
          <p:cNvPr id="15" name="TextBox 14">
            <a:extLst>
              <a:ext uri="{FF2B5EF4-FFF2-40B4-BE49-F238E27FC236}">
                <a16:creationId xmlns:a16="http://schemas.microsoft.com/office/drawing/2014/main" id="{6C353FC7-0CF3-49B7-A985-E3641CD2021E}"/>
              </a:ext>
            </a:extLst>
          </p:cNvPr>
          <p:cNvSpPr txBox="1"/>
          <p:nvPr/>
        </p:nvSpPr>
        <p:spPr>
          <a:xfrm>
            <a:off x="2333623" y="3050279"/>
            <a:ext cx="1543708" cy="523220"/>
          </a:xfrm>
          <a:prstGeom prst="rect">
            <a:avLst/>
          </a:prstGeom>
          <a:noFill/>
        </p:spPr>
        <p:txBody>
          <a:bodyPr wrap="square" rtlCol="0">
            <a:spAutoFit/>
          </a:bodyPr>
          <a:lstStyle/>
          <a:p>
            <a:pPr algn="ctr"/>
            <a:r>
              <a:rPr lang="en-US" sz="1400" dirty="0"/>
              <a:t>Causes/ Online Donation</a:t>
            </a:r>
          </a:p>
        </p:txBody>
      </p:sp>
      <p:sp>
        <p:nvSpPr>
          <p:cNvPr id="16" name="TextBox 15">
            <a:extLst>
              <a:ext uri="{FF2B5EF4-FFF2-40B4-BE49-F238E27FC236}">
                <a16:creationId xmlns:a16="http://schemas.microsoft.com/office/drawing/2014/main" id="{A1B33726-8BF5-4B62-93F0-459E10CADE39}"/>
              </a:ext>
            </a:extLst>
          </p:cNvPr>
          <p:cNvSpPr txBox="1"/>
          <p:nvPr/>
        </p:nvSpPr>
        <p:spPr>
          <a:xfrm>
            <a:off x="5213131" y="4834980"/>
            <a:ext cx="1436633" cy="523220"/>
          </a:xfrm>
          <a:prstGeom prst="rect">
            <a:avLst/>
          </a:prstGeom>
          <a:noFill/>
        </p:spPr>
        <p:txBody>
          <a:bodyPr wrap="square" rtlCol="0">
            <a:spAutoFit/>
          </a:bodyPr>
          <a:lstStyle/>
          <a:p>
            <a:pPr algn="ctr"/>
            <a:r>
              <a:rPr lang="en-US" sz="1400" dirty="0" err="1"/>
              <a:t>RoI</a:t>
            </a:r>
            <a:r>
              <a:rPr lang="en-US" sz="1400" dirty="0"/>
              <a:t> on Sustainability</a:t>
            </a:r>
          </a:p>
        </p:txBody>
      </p:sp>
      <p:sp>
        <p:nvSpPr>
          <p:cNvPr id="17" name="TextBox 16">
            <a:extLst>
              <a:ext uri="{FF2B5EF4-FFF2-40B4-BE49-F238E27FC236}">
                <a16:creationId xmlns:a16="http://schemas.microsoft.com/office/drawing/2014/main" id="{DF4D62AA-FDBE-4C14-8F2E-5719E5F9F457}"/>
              </a:ext>
            </a:extLst>
          </p:cNvPr>
          <p:cNvSpPr txBox="1"/>
          <p:nvPr/>
        </p:nvSpPr>
        <p:spPr>
          <a:xfrm>
            <a:off x="6184682" y="4327854"/>
            <a:ext cx="1436633" cy="307777"/>
          </a:xfrm>
          <a:prstGeom prst="rect">
            <a:avLst/>
          </a:prstGeom>
          <a:noFill/>
        </p:spPr>
        <p:txBody>
          <a:bodyPr wrap="square" rtlCol="0">
            <a:spAutoFit/>
          </a:bodyPr>
          <a:lstStyle/>
          <a:p>
            <a:pPr algn="ctr"/>
            <a:r>
              <a:rPr lang="en-US" sz="1400" dirty="0"/>
              <a:t>User Rating</a:t>
            </a:r>
          </a:p>
        </p:txBody>
      </p:sp>
      <p:sp>
        <p:nvSpPr>
          <p:cNvPr id="19" name="TextBox 18">
            <a:extLst>
              <a:ext uri="{FF2B5EF4-FFF2-40B4-BE49-F238E27FC236}">
                <a16:creationId xmlns:a16="http://schemas.microsoft.com/office/drawing/2014/main" id="{AD7132A8-65A6-4DCA-9BBB-21BD0D849408}"/>
              </a:ext>
            </a:extLst>
          </p:cNvPr>
          <p:cNvSpPr txBox="1"/>
          <p:nvPr/>
        </p:nvSpPr>
        <p:spPr>
          <a:xfrm>
            <a:off x="1018185" y="3140432"/>
            <a:ext cx="1307224" cy="738664"/>
          </a:xfrm>
          <a:prstGeom prst="rect">
            <a:avLst/>
          </a:prstGeom>
          <a:noFill/>
        </p:spPr>
        <p:txBody>
          <a:bodyPr wrap="square" rtlCol="0">
            <a:spAutoFit/>
          </a:bodyPr>
          <a:lstStyle/>
          <a:p>
            <a:pPr algn="ctr"/>
            <a:r>
              <a:rPr lang="en-US" sz="1400" dirty="0"/>
              <a:t>Inter Company Campaigns</a:t>
            </a:r>
          </a:p>
        </p:txBody>
      </p:sp>
      <p:sp>
        <p:nvSpPr>
          <p:cNvPr id="20" name="TextBox 19">
            <a:extLst>
              <a:ext uri="{FF2B5EF4-FFF2-40B4-BE49-F238E27FC236}">
                <a16:creationId xmlns:a16="http://schemas.microsoft.com/office/drawing/2014/main" id="{9DF9013A-2ACB-45F2-ADD6-3FCA17FC4CB4}"/>
              </a:ext>
            </a:extLst>
          </p:cNvPr>
          <p:cNvSpPr txBox="1"/>
          <p:nvPr/>
        </p:nvSpPr>
        <p:spPr>
          <a:xfrm>
            <a:off x="7726418" y="1944448"/>
            <a:ext cx="1543708" cy="523220"/>
          </a:xfrm>
          <a:prstGeom prst="rect">
            <a:avLst/>
          </a:prstGeom>
          <a:noFill/>
        </p:spPr>
        <p:txBody>
          <a:bodyPr wrap="square" rtlCol="0">
            <a:spAutoFit/>
          </a:bodyPr>
          <a:lstStyle/>
          <a:p>
            <a:pPr algn="ctr"/>
            <a:r>
              <a:rPr lang="en-US" sz="1400" dirty="0"/>
              <a:t>Mobile Platform</a:t>
            </a:r>
          </a:p>
        </p:txBody>
      </p:sp>
      <p:sp>
        <p:nvSpPr>
          <p:cNvPr id="21" name="TextBox 20">
            <a:extLst>
              <a:ext uri="{FF2B5EF4-FFF2-40B4-BE49-F238E27FC236}">
                <a16:creationId xmlns:a16="http://schemas.microsoft.com/office/drawing/2014/main" id="{D58AE18F-56F9-4B45-A024-076BBD0F2C5A}"/>
              </a:ext>
            </a:extLst>
          </p:cNvPr>
          <p:cNvSpPr txBox="1"/>
          <p:nvPr/>
        </p:nvSpPr>
        <p:spPr>
          <a:xfrm>
            <a:off x="9184072" y="3425814"/>
            <a:ext cx="1543708" cy="523220"/>
          </a:xfrm>
          <a:prstGeom prst="rect">
            <a:avLst/>
          </a:prstGeom>
          <a:noFill/>
        </p:spPr>
        <p:txBody>
          <a:bodyPr wrap="square" rtlCol="0">
            <a:spAutoFit/>
          </a:bodyPr>
          <a:lstStyle/>
          <a:p>
            <a:pPr algn="ctr"/>
            <a:r>
              <a:rPr lang="en-US" sz="1400" dirty="0"/>
              <a:t>Data Confidentiality</a:t>
            </a:r>
          </a:p>
        </p:txBody>
      </p:sp>
      <p:sp>
        <p:nvSpPr>
          <p:cNvPr id="22" name="TextBox 21">
            <a:extLst>
              <a:ext uri="{FF2B5EF4-FFF2-40B4-BE49-F238E27FC236}">
                <a16:creationId xmlns:a16="http://schemas.microsoft.com/office/drawing/2014/main" id="{5539D1AB-ABA7-4859-B2FC-FC920689B01F}"/>
              </a:ext>
            </a:extLst>
          </p:cNvPr>
          <p:cNvSpPr txBox="1"/>
          <p:nvPr/>
        </p:nvSpPr>
        <p:spPr>
          <a:xfrm>
            <a:off x="7947793" y="4757636"/>
            <a:ext cx="1543708" cy="523220"/>
          </a:xfrm>
          <a:prstGeom prst="rect">
            <a:avLst/>
          </a:prstGeom>
          <a:noFill/>
        </p:spPr>
        <p:txBody>
          <a:bodyPr wrap="square" rtlCol="0">
            <a:spAutoFit/>
          </a:bodyPr>
          <a:lstStyle/>
          <a:p>
            <a:pPr algn="ctr"/>
            <a:r>
              <a:rPr lang="en-US" sz="1400" dirty="0"/>
              <a:t>Client Participation</a:t>
            </a:r>
          </a:p>
        </p:txBody>
      </p:sp>
      <p:sp>
        <p:nvSpPr>
          <p:cNvPr id="23" name="TextBox 22">
            <a:extLst>
              <a:ext uri="{FF2B5EF4-FFF2-40B4-BE49-F238E27FC236}">
                <a16:creationId xmlns:a16="http://schemas.microsoft.com/office/drawing/2014/main" id="{DCE006D7-19D7-4668-9A82-932D04DD90FD}"/>
              </a:ext>
            </a:extLst>
          </p:cNvPr>
          <p:cNvSpPr txBox="1"/>
          <p:nvPr/>
        </p:nvSpPr>
        <p:spPr>
          <a:xfrm>
            <a:off x="2126371" y="4724480"/>
            <a:ext cx="1694794" cy="523220"/>
          </a:xfrm>
          <a:prstGeom prst="rect">
            <a:avLst/>
          </a:prstGeom>
          <a:noFill/>
        </p:spPr>
        <p:txBody>
          <a:bodyPr wrap="square" rtlCol="0">
            <a:spAutoFit/>
          </a:bodyPr>
          <a:lstStyle/>
          <a:p>
            <a:pPr algn="ctr"/>
            <a:r>
              <a:rPr lang="en-US" sz="1400" dirty="0"/>
              <a:t>Microsoft Teams Integration</a:t>
            </a:r>
            <a:r>
              <a:rPr lang="en-US" sz="1400" baseline="30000" dirty="0"/>
              <a:t>*</a:t>
            </a:r>
          </a:p>
        </p:txBody>
      </p:sp>
      <p:sp>
        <p:nvSpPr>
          <p:cNvPr id="24" name="Title 1">
            <a:extLst>
              <a:ext uri="{FF2B5EF4-FFF2-40B4-BE49-F238E27FC236}">
                <a16:creationId xmlns:a16="http://schemas.microsoft.com/office/drawing/2014/main" id="{6594E8AD-4545-4B4E-BCC7-5FEB300FF481}"/>
              </a:ext>
            </a:extLst>
          </p:cNvPr>
          <p:cNvSpPr txBox="1">
            <a:spLocks/>
          </p:cNvSpPr>
          <p:nvPr/>
        </p:nvSpPr>
        <p:spPr>
          <a:xfrm>
            <a:off x="407988" y="404813"/>
            <a:ext cx="10944596" cy="865054"/>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Feature List</a:t>
            </a:r>
          </a:p>
        </p:txBody>
      </p:sp>
      <p:sp>
        <p:nvSpPr>
          <p:cNvPr id="25" name="TextBox 24">
            <a:extLst>
              <a:ext uri="{FF2B5EF4-FFF2-40B4-BE49-F238E27FC236}">
                <a16:creationId xmlns:a16="http://schemas.microsoft.com/office/drawing/2014/main" id="{1003A7CA-5BF8-4494-8E15-4538A7B00FE7}"/>
              </a:ext>
            </a:extLst>
          </p:cNvPr>
          <p:cNvSpPr txBox="1"/>
          <p:nvPr/>
        </p:nvSpPr>
        <p:spPr>
          <a:xfrm>
            <a:off x="407988" y="6234658"/>
            <a:ext cx="11206495" cy="461665"/>
          </a:xfrm>
          <a:prstGeom prst="rect">
            <a:avLst/>
          </a:prstGeom>
          <a:noFill/>
        </p:spPr>
        <p:txBody>
          <a:bodyPr wrap="square" rtlCol="0">
            <a:spAutoFit/>
          </a:bodyPr>
          <a:lstStyle/>
          <a:p>
            <a:r>
              <a:rPr lang="en-US" sz="1200" dirty="0"/>
              <a:t>*</a:t>
            </a:r>
            <a:r>
              <a:rPr lang="en-US" sz="1200" dirty="0" err="1"/>
              <a:t>Goodera</a:t>
            </a:r>
            <a:r>
              <a:rPr lang="en-US" sz="1200" dirty="0"/>
              <a:t> team confirmed that they have no immediate plans to publish integration API for their platform. The only interface possible is through Microsoft Teams which they intend to rollout by Q3 2020</a:t>
            </a:r>
          </a:p>
        </p:txBody>
      </p:sp>
      <p:sp>
        <p:nvSpPr>
          <p:cNvPr id="26" name="TextBox 25">
            <a:extLst>
              <a:ext uri="{FF2B5EF4-FFF2-40B4-BE49-F238E27FC236}">
                <a16:creationId xmlns:a16="http://schemas.microsoft.com/office/drawing/2014/main" id="{AE5E9197-2C22-4706-A6AA-2FC062B8CB33}"/>
              </a:ext>
            </a:extLst>
          </p:cNvPr>
          <p:cNvSpPr txBox="1"/>
          <p:nvPr/>
        </p:nvSpPr>
        <p:spPr>
          <a:xfrm>
            <a:off x="2390115" y="3804634"/>
            <a:ext cx="1694794" cy="523220"/>
          </a:xfrm>
          <a:prstGeom prst="rect">
            <a:avLst/>
          </a:prstGeom>
          <a:noFill/>
        </p:spPr>
        <p:txBody>
          <a:bodyPr wrap="square" rtlCol="0">
            <a:spAutoFit/>
          </a:bodyPr>
          <a:lstStyle/>
          <a:p>
            <a:pPr algn="ctr"/>
            <a:r>
              <a:rPr lang="en-US" sz="1400" dirty="0"/>
              <a:t>Participant Attendance</a:t>
            </a:r>
          </a:p>
        </p:txBody>
      </p:sp>
      <p:sp>
        <p:nvSpPr>
          <p:cNvPr id="27" name="TextBox 26">
            <a:extLst>
              <a:ext uri="{FF2B5EF4-FFF2-40B4-BE49-F238E27FC236}">
                <a16:creationId xmlns:a16="http://schemas.microsoft.com/office/drawing/2014/main" id="{046EF5B8-4787-4776-803B-58756CA3A832}"/>
              </a:ext>
            </a:extLst>
          </p:cNvPr>
          <p:cNvSpPr txBox="1"/>
          <p:nvPr/>
        </p:nvSpPr>
        <p:spPr>
          <a:xfrm>
            <a:off x="3356740" y="5237918"/>
            <a:ext cx="1694794" cy="523220"/>
          </a:xfrm>
          <a:prstGeom prst="rect">
            <a:avLst/>
          </a:prstGeom>
          <a:noFill/>
        </p:spPr>
        <p:txBody>
          <a:bodyPr wrap="square" rtlCol="0">
            <a:spAutoFit/>
          </a:bodyPr>
          <a:lstStyle/>
          <a:p>
            <a:pPr algn="ctr"/>
            <a:r>
              <a:rPr lang="en-US" sz="1400" dirty="0"/>
              <a:t>Guest Participation</a:t>
            </a:r>
            <a:endParaRPr lang="en-US" sz="1400" baseline="30000" dirty="0"/>
          </a:p>
        </p:txBody>
      </p:sp>
    </p:spTree>
    <p:extLst>
      <p:ext uri="{BB962C8B-B14F-4D97-AF65-F5344CB8AC3E}">
        <p14:creationId xmlns:p14="http://schemas.microsoft.com/office/powerpoint/2010/main" val="24344906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6594E8AD-4545-4B4E-BCC7-5FEB300FF481}"/>
              </a:ext>
            </a:extLst>
          </p:cNvPr>
          <p:cNvSpPr txBox="1">
            <a:spLocks/>
          </p:cNvSpPr>
          <p:nvPr/>
        </p:nvSpPr>
        <p:spPr>
          <a:xfrm>
            <a:off x="407988" y="404813"/>
            <a:ext cx="10944596" cy="865054"/>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Integration Interface </a:t>
            </a:r>
          </a:p>
        </p:txBody>
      </p:sp>
      <p:pic>
        <p:nvPicPr>
          <p:cNvPr id="3" name="Picture 2" descr="A picture containing object, clock, drawing&#10;&#10;Description automatically generated">
            <a:extLst>
              <a:ext uri="{FF2B5EF4-FFF2-40B4-BE49-F238E27FC236}">
                <a16:creationId xmlns:a16="http://schemas.microsoft.com/office/drawing/2014/main" id="{B69B7BA1-7A58-439A-B51E-1888201690AC}"/>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0368134" y="3211554"/>
            <a:ext cx="1235333" cy="1148860"/>
          </a:xfrm>
          <a:prstGeom prst="rect">
            <a:avLst/>
          </a:prstGeom>
        </p:spPr>
      </p:pic>
      <p:sp>
        <p:nvSpPr>
          <p:cNvPr id="5" name="Rectangle: Rounded Corners 4">
            <a:extLst>
              <a:ext uri="{FF2B5EF4-FFF2-40B4-BE49-F238E27FC236}">
                <a16:creationId xmlns:a16="http://schemas.microsoft.com/office/drawing/2014/main" id="{755D6ADF-B306-4E62-82BF-BDBE500C140E}"/>
              </a:ext>
            </a:extLst>
          </p:cNvPr>
          <p:cNvSpPr/>
          <p:nvPr/>
        </p:nvSpPr>
        <p:spPr>
          <a:xfrm>
            <a:off x="407988" y="4607530"/>
            <a:ext cx="11430000" cy="1743520"/>
          </a:xfrm>
          <a:prstGeom prst="roundRect">
            <a:avLst/>
          </a:prstGeom>
          <a:solidFill>
            <a:srgbClr val="0070AD"/>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bg1"/>
                </a:solidFill>
              </a:rPr>
              <a:t>Mind the Cap      </a:t>
            </a:r>
            <a:r>
              <a:rPr lang="en-US" dirty="0">
                <a:solidFill>
                  <a:srgbClr val="0070AD"/>
                </a:solidFill>
              </a:rPr>
              <a:t>.</a:t>
            </a:r>
          </a:p>
        </p:txBody>
      </p:sp>
      <p:sp>
        <p:nvSpPr>
          <p:cNvPr id="7" name="Rectangle: Rounded Corners 6">
            <a:extLst>
              <a:ext uri="{FF2B5EF4-FFF2-40B4-BE49-F238E27FC236}">
                <a16:creationId xmlns:a16="http://schemas.microsoft.com/office/drawing/2014/main" id="{2B4BD14A-0D57-4791-829C-87BD0B5A12E7}"/>
              </a:ext>
            </a:extLst>
          </p:cNvPr>
          <p:cNvSpPr/>
          <p:nvPr/>
        </p:nvSpPr>
        <p:spPr>
          <a:xfrm>
            <a:off x="407988" y="1248383"/>
            <a:ext cx="11430000" cy="1729795"/>
          </a:xfrm>
          <a:prstGeom prst="roundRect">
            <a:avLst/>
          </a:prstGeom>
          <a:solidFill>
            <a:srgbClr val="00C37B"/>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err="1">
                <a:solidFill>
                  <a:schemeClr val="tx1"/>
                </a:solidFill>
              </a:rPr>
              <a:t>Goodera</a:t>
            </a:r>
            <a:endParaRPr lang="en-US" dirty="0">
              <a:solidFill>
                <a:schemeClr val="tx1"/>
              </a:solidFill>
            </a:endParaRPr>
          </a:p>
        </p:txBody>
      </p:sp>
      <p:sp>
        <p:nvSpPr>
          <p:cNvPr id="13" name="Rectangle: Rounded Corners 12">
            <a:extLst>
              <a:ext uri="{FF2B5EF4-FFF2-40B4-BE49-F238E27FC236}">
                <a16:creationId xmlns:a16="http://schemas.microsoft.com/office/drawing/2014/main" id="{452D451E-D3DE-49A6-A9E4-B2F03F408CB5}"/>
              </a:ext>
            </a:extLst>
          </p:cNvPr>
          <p:cNvSpPr/>
          <p:nvPr/>
        </p:nvSpPr>
        <p:spPr>
          <a:xfrm>
            <a:off x="407987" y="3146741"/>
            <a:ext cx="11430001" cy="129222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dirty="0">
              <a:solidFill>
                <a:schemeClr val="tx1"/>
              </a:solidFill>
            </a:endParaRPr>
          </a:p>
        </p:txBody>
      </p:sp>
      <p:sp>
        <p:nvSpPr>
          <p:cNvPr id="14" name="TextBox 13">
            <a:extLst>
              <a:ext uri="{FF2B5EF4-FFF2-40B4-BE49-F238E27FC236}">
                <a16:creationId xmlns:a16="http://schemas.microsoft.com/office/drawing/2014/main" id="{AF19FFA3-F2BF-4F83-9702-30D7DA68428B}"/>
              </a:ext>
            </a:extLst>
          </p:cNvPr>
          <p:cNvSpPr txBox="1"/>
          <p:nvPr/>
        </p:nvSpPr>
        <p:spPr>
          <a:xfrm>
            <a:off x="554587" y="1885981"/>
            <a:ext cx="1828800" cy="523220"/>
          </a:xfrm>
          <a:prstGeom prst="rect">
            <a:avLst/>
          </a:prstGeom>
          <a:solidFill>
            <a:srgbClr val="88D5ED"/>
          </a:solidFill>
          <a:ln>
            <a:solidFill>
              <a:schemeClr val="tx1"/>
            </a:solidFill>
          </a:ln>
        </p:spPr>
        <p:txBody>
          <a:bodyPr wrap="square" rtlCol="0" anchor="ctr">
            <a:noAutofit/>
          </a:bodyPr>
          <a:lstStyle/>
          <a:p>
            <a:pPr algn="ctr"/>
            <a:r>
              <a:rPr lang="en-US" sz="1400" dirty="0"/>
              <a:t>Campaign Creation </a:t>
            </a:r>
          </a:p>
        </p:txBody>
      </p:sp>
      <p:sp>
        <p:nvSpPr>
          <p:cNvPr id="15" name="TextBox 14">
            <a:extLst>
              <a:ext uri="{FF2B5EF4-FFF2-40B4-BE49-F238E27FC236}">
                <a16:creationId xmlns:a16="http://schemas.microsoft.com/office/drawing/2014/main" id="{EFA04B34-DEB5-4E3D-8008-A3E59F14BF69}"/>
              </a:ext>
            </a:extLst>
          </p:cNvPr>
          <p:cNvSpPr txBox="1"/>
          <p:nvPr/>
        </p:nvSpPr>
        <p:spPr>
          <a:xfrm>
            <a:off x="2868093" y="1885981"/>
            <a:ext cx="1828800" cy="523220"/>
          </a:xfrm>
          <a:prstGeom prst="rect">
            <a:avLst/>
          </a:prstGeom>
          <a:solidFill>
            <a:srgbClr val="88D5ED"/>
          </a:solidFill>
          <a:ln>
            <a:solidFill>
              <a:schemeClr val="tx1"/>
            </a:solidFill>
          </a:ln>
        </p:spPr>
        <p:txBody>
          <a:bodyPr wrap="square" rtlCol="0" anchor="ctr">
            <a:noAutofit/>
          </a:bodyPr>
          <a:lstStyle/>
          <a:p>
            <a:pPr algn="ctr"/>
            <a:r>
              <a:rPr lang="en-US" sz="1400" dirty="0"/>
              <a:t>Campaign Registration</a:t>
            </a:r>
          </a:p>
        </p:txBody>
      </p:sp>
      <p:sp>
        <p:nvSpPr>
          <p:cNvPr id="16" name="TextBox 15">
            <a:extLst>
              <a:ext uri="{FF2B5EF4-FFF2-40B4-BE49-F238E27FC236}">
                <a16:creationId xmlns:a16="http://schemas.microsoft.com/office/drawing/2014/main" id="{16A2E6FD-C5B4-4E15-A564-14B835715891}"/>
              </a:ext>
            </a:extLst>
          </p:cNvPr>
          <p:cNvSpPr txBox="1"/>
          <p:nvPr/>
        </p:nvSpPr>
        <p:spPr>
          <a:xfrm>
            <a:off x="5181599" y="1885981"/>
            <a:ext cx="1828800" cy="523220"/>
          </a:xfrm>
          <a:prstGeom prst="rect">
            <a:avLst/>
          </a:prstGeom>
          <a:solidFill>
            <a:srgbClr val="88D5ED"/>
          </a:solidFill>
          <a:ln>
            <a:solidFill>
              <a:schemeClr val="tx1"/>
            </a:solidFill>
          </a:ln>
        </p:spPr>
        <p:txBody>
          <a:bodyPr wrap="square" rtlCol="0" anchor="ctr">
            <a:noAutofit/>
          </a:bodyPr>
          <a:lstStyle/>
          <a:p>
            <a:pPr algn="ctr"/>
            <a:r>
              <a:rPr lang="en-US" sz="1400" dirty="0"/>
              <a:t>Campaign Attendance</a:t>
            </a:r>
          </a:p>
        </p:txBody>
      </p:sp>
      <p:sp>
        <p:nvSpPr>
          <p:cNvPr id="17" name="TextBox 16">
            <a:extLst>
              <a:ext uri="{FF2B5EF4-FFF2-40B4-BE49-F238E27FC236}">
                <a16:creationId xmlns:a16="http://schemas.microsoft.com/office/drawing/2014/main" id="{704C2B9D-2D0A-4984-8F43-BF07530FC09C}"/>
              </a:ext>
            </a:extLst>
          </p:cNvPr>
          <p:cNvSpPr txBox="1"/>
          <p:nvPr/>
        </p:nvSpPr>
        <p:spPr>
          <a:xfrm>
            <a:off x="7495106" y="1885981"/>
            <a:ext cx="1828800" cy="523220"/>
          </a:xfrm>
          <a:prstGeom prst="rect">
            <a:avLst/>
          </a:prstGeom>
          <a:solidFill>
            <a:srgbClr val="88D5ED"/>
          </a:solidFill>
          <a:ln>
            <a:solidFill>
              <a:schemeClr val="tx1"/>
            </a:solidFill>
          </a:ln>
        </p:spPr>
        <p:txBody>
          <a:bodyPr wrap="square" rtlCol="0" anchor="ctr">
            <a:noAutofit/>
          </a:bodyPr>
          <a:lstStyle/>
          <a:p>
            <a:pPr algn="ctr"/>
            <a:r>
              <a:rPr lang="en-US" sz="1400" dirty="0"/>
              <a:t>Campaign Feedback</a:t>
            </a:r>
          </a:p>
        </p:txBody>
      </p:sp>
      <p:sp>
        <p:nvSpPr>
          <p:cNvPr id="18" name="TextBox 17">
            <a:extLst>
              <a:ext uri="{FF2B5EF4-FFF2-40B4-BE49-F238E27FC236}">
                <a16:creationId xmlns:a16="http://schemas.microsoft.com/office/drawing/2014/main" id="{DBC275C8-21A0-4C71-84A0-7D627E8B9310}"/>
              </a:ext>
            </a:extLst>
          </p:cNvPr>
          <p:cNvSpPr txBox="1"/>
          <p:nvPr/>
        </p:nvSpPr>
        <p:spPr>
          <a:xfrm>
            <a:off x="9808613" y="1885981"/>
            <a:ext cx="1828800" cy="523220"/>
          </a:xfrm>
          <a:prstGeom prst="rect">
            <a:avLst/>
          </a:prstGeom>
          <a:solidFill>
            <a:srgbClr val="88D5ED"/>
          </a:solidFill>
          <a:ln>
            <a:solidFill>
              <a:schemeClr val="tx1"/>
            </a:solidFill>
          </a:ln>
        </p:spPr>
        <p:txBody>
          <a:bodyPr wrap="square" rtlCol="0" anchor="ctr">
            <a:noAutofit/>
          </a:bodyPr>
          <a:lstStyle/>
          <a:p>
            <a:pPr algn="ctr"/>
            <a:r>
              <a:rPr lang="en-US" sz="1400" dirty="0"/>
              <a:t>Reporting Dashboard</a:t>
            </a:r>
          </a:p>
        </p:txBody>
      </p:sp>
      <p:sp>
        <p:nvSpPr>
          <p:cNvPr id="19" name="TextBox 18">
            <a:extLst>
              <a:ext uri="{FF2B5EF4-FFF2-40B4-BE49-F238E27FC236}">
                <a16:creationId xmlns:a16="http://schemas.microsoft.com/office/drawing/2014/main" id="{72444F85-E35E-422A-A66B-66B88ED5F6D5}"/>
              </a:ext>
            </a:extLst>
          </p:cNvPr>
          <p:cNvSpPr txBox="1"/>
          <p:nvPr/>
        </p:nvSpPr>
        <p:spPr>
          <a:xfrm>
            <a:off x="1710286" y="5607496"/>
            <a:ext cx="1828800" cy="523220"/>
          </a:xfrm>
          <a:prstGeom prst="rect">
            <a:avLst/>
          </a:prstGeom>
          <a:solidFill>
            <a:srgbClr val="88D5ED"/>
          </a:solidFill>
          <a:ln>
            <a:solidFill>
              <a:schemeClr val="tx1"/>
            </a:solidFill>
          </a:ln>
        </p:spPr>
        <p:txBody>
          <a:bodyPr wrap="square" rtlCol="0" anchor="ctr">
            <a:noAutofit/>
          </a:bodyPr>
          <a:lstStyle/>
          <a:p>
            <a:pPr algn="ctr"/>
            <a:r>
              <a:rPr lang="en-US" sz="1400" dirty="0"/>
              <a:t>Campaign Registration </a:t>
            </a:r>
          </a:p>
        </p:txBody>
      </p:sp>
      <p:sp>
        <p:nvSpPr>
          <p:cNvPr id="20" name="TextBox 19">
            <a:extLst>
              <a:ext uri="{FF2B5EF4-FFF2-40B4-BE49-F238E27FC236}">
                <a16:creationId xmlns:a16="http://schemas.microsoft.com/office/drawing/2014/main" id="{2B58A615-BCAE-4F85-83C6-A487D6499623}"/>
              </a:ext>
            </a:extLst>
          </p:cNvPr>
          <p:cNvSpPr txBox="1"/>
          <p:nvPr/>
        </p:nvSpPr>
        <p:spPr>
          <a:xfrm>
            <a:off x="5181600" y="5607496"/>
            <a:ext cx="1828800" cy="523220"/>
          </a:xfrm>
          <a:prstGeom prst="rect">
            <a:avLst/>
          </a:prstGeom>
          <a:solidFill>
            <a:srgbClr val="88D5ED"/>
          </a:solidFill>
          <a:ln>
            <a:solidFill>
              <a:schemeClr val="tx1"/>
            </a:solidFill>
          </a:ln>
        </p:spPr>
        <p:txBody>
          <a:bodyPr wrap="square" rtlCol="0" anchor="ctr">
            <a:noAutofit/>
          </a:bodyPr>
          <a:lstStyle/>
          <a:p>
            <a:pPr algn="ctr"/>
            <a:r>
              <a:rPr lang="en-US" sz="1400" dirty="0"/>
              <a:t>Campaign Feedback</a:t>
            </a:r>
          </a:p>
        </p:txBody>
      </p:sp>
      <p:sp>
        <p:nvSpPr>
          <p:cNvPr id="23" name="TextBox 22">
            <a:extLst>
              <a:ext uri="{FF2B5EF4-FFF2-40B4-BE49-F238E27FC236}">
                <a16:creationId xmlns:a16="http://schemas.microsoft.com/office/drawing/2014/main" id="{0FD0828D-3D63-4E10-A9F8-978F899E007E}"/>
              </a:ext>
            </a:extLst>
          </p:cNvPr>
          <p:cNvSpPr txBox="1"/>
          <p:nvPr/>
        </p:nvSpPr>
        <p:spPr>
          <a:xfrm>
            <a:off x="8894213" y="5601592"/>
            <a:ext cx="1828800" cy="523220"/>
          </a:xfrm>
          <a:prstGeom prst="rect">
            <a:avLst/>
          </a:prstGeom>
          <a:solidFill>
            <a:srgbClr val="88D5ED"/>
          </a:solidFill>
          <a:ln>
            <a:solidFill>
              <a:schemeClr val="tx1"/>
            </a:solidFill>
          </a:ln>
        </p:spPr>
        <p:txBody>
          <a:bodyPr wrap="square" rtlCol="0" anchor="ctr">
            <a:noAutofit/>
          </a:bodyPr>
          <a:lstStyle/>
          <a:p>
            <a:pPr algn="ctr"/>
            <a:r>
              <a:rPr lang="en-US" sz="1400" dirty="0"/>
              <a:t>Reporting Dashboard</a:t>
            </a:r>
          </a:p>
        </p:txBody>
      </p:sp>
      <p:sp>
        <p:nvSpPr>
          <p:cNvPr id="6" name="TextBox 5">
            <a:extLst>
              <a:ext uri="{FF2B5EF4-FFF2-40B4-BE49-F238E27FC236}">
                <a16:creationId xmlns:a16="http://schemas.microsoft.com/office/drawing/2014/main" id="{5A96E78C-0EEC-4CD1-8463-C13CDBFF9A71}"/>
              </a:ext>
            </a:extLst>
          </p:cNvPr>
          <p:cNvSpPr txBox="1"/>
          <p:nvPr/>
        </p:nvSpPr>
        <p:spPr>
          <a:xfrm>
            <a:off x="387781" y="3148004"/>
            <a:ext cx="1114974" cy="523220"/>
          </a:xfrm>
          <a:prstGeom prst="rect">
            <a:avLst/>
          </a:prstGeom>
          <a:noFill/>
        </p:spPr>
        <p:txBody>
          <a:bodyPr wrap="square" rtlCol="0">
            <a:spAutoFit/>
          </a:bodyPr>
          <a:lstStyle/>
          <a:p>
            <a:pPr algn="r"/>
            <a:r>
              <a:rPr lang="en-US" sz="1400" dirty="0"/>
              <a:t>Campaign</a:t>
            </a:r>
          </a:p>
          <a:p>
            <a:pPr algn="r"/>
            <a:r>
              <a:rPr lang="en-US" sz="1400" dirty="0"/>
              <a:t>Details</a:t>
            </a:r>
          </a:p>
        </p:txBody>
      </p:sp>
      <p:cxnSp>
        <p:nvCxnSpPr>
          <p:cNvPr id="26" name="Straight Arrow Connector 25">
            <a:extLst>
              <a:ext uri="{FF2B5EF4-FFF2-40B4-BE49-F238E27FC236}">
                <a16:creationId xmlns:a16="http://schemas.microsoft.com/office/drawing/2014/main" id="{A2BBEADD-4B4C-4D6B-8E7E-C42CBFDE4E91}"/>
              </a:ext>
            </a:extLst>
          </p:cNvPr>
          <p:cNvCxnSpPr>
            <a:cxnSpLocks/>
            <a:stCxn id="14" idx="2"/>
          </p:cNvCxnSpPr>
          <p:nvPr/>
        </p:nvCxnSpPr>
        <p:spPr>
          <a:xfrm>
            <a:off x="1468987" y="2409201"/>
            <a:ext cx="0" cy="2198329"/>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27" name="Straight Arrow Connector 26">
            <a:extLst>
              <a:ext uri="{FF2B5EF4-FFF2-40B4-BE49-F238E27FC236}">
                <a16:creationId xmlns:a16="http://schemas.microsoft.com/office/drawing/2014/main" id="{B1E206B7-953D-4596-8DC7-B2D60EB8C429}"/>
              </a:ext>
            </a:extLst>
          </p:cNvPr>
          <p:cNvCxnSpPr>
            <a:cxnSpLocks/>
          </p:cNvCxnSpPr>
          <p:nvPr/>
        </p:nvCxnSpPr>
        <p:spPr>
          <a:xfrm flipV="1">
            <a:off x="2840586" y="2978178"/>
            <a:ext cx="0" cy="2629318"/>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sp>
        <p:nvSpPr>
          <p:cNvPr id="30" name="TextBox 29">
            <a:extLst>
              <a:ext uri="{FF2B5EF4-FFF2-40B4-BE49-F238E27FC236}">
                <a16:creationId xmlns:a16="http://schemas.microsoft.com/office/drawing/2014/main" id="{73C394BC-6E6C-46A7-975D-05D79DD3B86C}"/>
              </a:ext>
            </a:extLst>
          </p:cNvPr>
          <p:cNvSpPr txBox="1"/>
          <p:nvPr/>
        </p:nvSpPr>
        <p:spPr>
          <a:xfrm>
            <a:off x="2766028" y="3473309"/>
            <a:ext cx="1358369" cy="523220"/>
          </a:xfrm>
          <a:prstGeom prst="rect">
            <a:avLst/>
          </a:prstGeom>
          <a:noFill/>
        </p:spPr>
        <p:txBody>
          <a:bodyPr wrap="square" rtlCol="0">
            <a:spAutoFit/>
          </a:bodyPr>
          <a:lstStyle/>
          <a:p>
            <a:pPr algn="ctr"/>
            <a:r>
              <a:rPr lang="en-US" sz="1400" dirty="0"/>
              <a:t>Campaign</a:t>
            </a:r>
          </a:p>
          <a:p>
            <a:pPr algn="ctr"/>
            <a:r>
              <a:rPr lang="en-US" sz="1400" dirty="0"/>
              <a:t>Registration</a:t>
            </a:r>
          </a:p>
        </p:txBody>
      </p:sp>
      <p:cxnSp>
        <p:nvCxnSpPr>
          <p:cNvPr id="32" name="Straight Arrow Connector 31">
            <a:extLst>
              <a:ext uri="{FF2B5EF4-FFF2-40B4-BE49-F238E27FC236}">
                <a16:creationId xmlns:a16="http://schemas.microsoft.com/office/drawing/2014/main" id="{2C722A80-E193-428F-8F29-8A49636AAC1E}"/>
              </a:ext>
            </a:extLst>
          </p:cNvPr>
          <p:cNvCxnSpPr>
            <a:cxnSpLocks/>
          </p:cNvCxnSpPr>
          <p:nvPr/>
        </p:nvCxnSpPr>
        <p:spPr>
          <a:xfrm flipV="1">
            <a:off x="6667500" y="3146741"/>
            <a:ext cx="0" cy="2438852"/>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sp>
        <p:nvSpPr>
          <p:cNvPr id="33" name="TextBox 32">
            <a:extLst>
              <a:ext uri="{FF2B5EF4-FFF2-40B4-BE49-F238E27FC236}">
                <a16:creationId xmlns:a16="http://schemas.microsoft.com/office/drawing/2014/main" id="{F09D208C-B1AD-47FE-981B-B57AE8F4249F}"/>
              </a:ext>
            </a:extLst>
          </p:cNvPr>
          <p:cNvSpPr txBox="1"/>
          <p:nvPr/>
        </p:nvSpPr>
        <p:spPr>
          <a:xfrm>
            <a:off x="6403941" y="3915747"/>
            <a:ext cx="1358369" cy="523220"/>
          </a:xfrm>
          <a:prstGeom prst="rect">
            <a:avLst/>
          </a:prstGeom>
          <a:noFill/>
        </p:spPr>
        <p:txBody>
          <a:bodyPr wrap="square" rtlCol="0">
            <a:spAutoFit/>
          </a:bodyPr>
          <a:lstStyle/>
          <a:p>
            <a:pPr algn="r"/>
            <a:r>
              <a:rPr lang="en-US" sz="1400" dirty="0"/>
              <a:t>Campaign</a:t>
            </a:r>
          </a:p>
          <a:p>
            <a:pPr algn="r"/>
            <a:r>
              <a:rPr lang="en-US" sz="1400" dirty="0"/>
              <a:t>Feedback</a:t>
            </a:r>
          </a:p>
        </p:txBody>
      </p:sp>
      <p:sp>
        <p:nvSpPr>
          <p:cNvPr id="37" name="TextBox 36">
            <a:extLst>
              <a:ext uri="{FF2B5EF4-FFF2-40B4-BE49-F238E27FC236}">
                <a16:creationId xmlns:a16="http://schemas.microsoft.com/office/drawing/2014/main" id="{9F3B8027-DF51-4238-8B9F-3EAF70EF8118}"/>
              </a:ext>
            </a:extLst>
          </p:cNvPr>
          <p:cNvSpPr txBox="1"/>
          <p:nvPr/>
        </p:nvSpPr>
        <p:spPr>
          <a:xfrm>
            <a:off x="4287363" y="3174523"/>
            <a:ext cx="1371600" cy="523220"/>
          </a:xfrm>
          <a:prstGeom prst="rect">
            <a:avLst/>
          </a:prstGeom>
          <a:noFill/>
        </p:spPr>
        <p:txBody>
          <a:bodyPr wrap="square" rtlCol="0">
            <a:spAutoFit/>
          </a:bodyPr>
          <a:lstStyle/>
          <a:p>
            <a:pPr algn="r"/>
            <a:r>
              <a:rPr lang="en-US" sz="1400" dirty="0"/>
              <a:t>Campaign</a:t>
            </a:r>
          </a:p>
          <a:p>
            <a:pPr algn="r"/>
            <a:r>
              <a:rPr lang="en-US" sz="1400" dirty="0"/>
              <a:t>Participation</a:t>
            </a:r>
          </a:p>
        </p:txBody>
      </p:sp>
      <p:cxnSp>
        <p:nvCxnSpPr>
          <p:cNvPr id="38" name="Straight Arrow Connector 37">
            <a:extLst>
              <a:ext uri="{FF2B5EF4-FFF2-40B4-BE49-F238E27FC236}">
                <a16:creationId xmlns:a16="http://schemas.microsoft.com/office/drawing/2014/main" id="{A0A97F0E-C724-47F9-B384-055DE0337E7C}"/>
              </a:ext>
            </a:extLst>
          </p:cNvPr>
          <p:cNvCxnSpPr>
            <a:cxnSpLocks/>
          </p:cNvCxnSpPr>
          <p:nvPr/>
        </p:nvCxnSpPr>
        <p:spPr>
          <a:xfrm>
            <a:off x="5610596" y="2420350"/>
            <a:ext cx="0" cy="2198329"/>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39" name="Straight Arrow Connector 38">
            <a:extLst>
              <a:ext uri="{FF2B5EF4-FFF2-40B4-BE49-F238E27FC236}">
                <a16:creationId xmlns:a16="http://schemas.microsoft.com/office/drawing/2014/main" id="{06A6B5DA-CC93-41E9-A975-0423CA2B1557}"/>
              </a:ext>
            </a:extLst>
          </p:cNvPr>
          <p:cNvCxnSpPr>
            <a:cxnSpLocks/>
          </p:cNvCxnSpPr>
          <p:nvPr/>
        </p:nvCxnSpPr>
        <p:spPr>
          <a:xfrm>
            <a:off x="9323906" y="4083358"/>
            <a:ext cx="0" cy="1502235"/>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42" name="Straight Arrow Connector 41">
            <a:extLst>
              <a:ext uri="{FF2B5EF4-FFF2-40B4-BE49-F238E27FC236}">
                <a16:creationId xmlns:a16="http://schemas.microsoft.com/office/drawing/2014/main" id="{78B65A5F-1559-4108-A85D-3BB70E6AD9D5}"/>
              </a:ext>
            </a:extLst>
          </p:cNvPr>
          <p:cNvCxnSpPr>
            <a:cxnSpLocks/>
          </p:cNvCxnSpPr>
          <p:nvPr/>
        </p:nvCxnSpPr>
        <p:spPr>
          <a:xfrm flipV="1">
            <a:off x="9969500" y="2420351"/>
            <a:ext cx="0" cy="1139787"/>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sp>
        <p:nvSpPr>
          <p:cNvPr id="45" name="TextBox 44">
            <a:extLst>
              <a:ext uri="{FF2B5EF4-FFF2-40B4-BE49-F238E27FC236}">
                <a16:creationId xmlns:a16="http://schemas.microsoft.com/office/drawing/2014/main" id="{B4DA7F93-5C66-488D-A055-06CE34200595}"/>
              </a:ext>
            </a:extLst>
          </p:cNvPr>
          <p:cNvSpPr txBox="1"/>
          <p:nvPr/>
        </p:nvSpPr>
        <p:spPr>
          <a:xfrm>
            <a:off x="8711533" y="3560138"/>
            <a:ext cx="1358369" cy="523220"/>
          </a:xfrm>
          <a:prstGeom prst="rect">
            <a:avLst/>
          </a:prstGeom>
          <a:noFill/>
        </p:spPr>
        <p:txBody>
          <a:bodyPr wrap="square" rtlCol="0">
            <a:spAutoFit/>
          </a:bodyPr>
          <a:lstStyle/>
          <a:p>
            <a:pPr algn="r"/>
            <a:r>
              <a:rPr lang="en-US" sz="1400" dirty="0"/>
              <a:t>Campaign</a:t>
            </a:r>
          </a:p>
          <a:p>
            <a:pPr algn="r"/>
            <a:r>
              <a:rPr lang="en-US" sz="1400" dirty="0"/>
              <a:t>Details</a:t>
            </a:r>
          </a:p>
        </p:txBody>
      </p:sp>
      <p:cxnSp>
        <p:nvCxnSpPr>
          <p:cNvPr id="48" name="Straight Arrow Connector 47">
            <a:extLst>
              <a:ext uri="{FF2B5EF4-FFF2-40B4-BE49-F238E27FC236}">
                <a16:creationId xmlns:a16="http://schemas.microsoft.com/office/drawing/2014/main" id="{71749F0C-1C3B-4EF6-8D94-78C2461B94DD}"/>
              </a:ext>
            </a:extLst>
          </p:cNvPr>
          <p:cNvCxnSpPr>
            <a:cxnSpLocks/>
          </p:cNvCxnSpPr>
          <p:nvPr/>
        </p:nvCxnSpPr>
        <p:spPr>
          <a:xfrm>
            <a:off x="7836923" y="2406852"/>
            <a:ext cx="0" cy="2187180"/>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53" name="Straight Arrow Connector 52">
            <a:extLst>
              <a:ext uri="{FF2B5EF4-FFF2-40B4-BE49-F238E27FC236}">
                <a16:creationId xmlns:a16="http://schemas.microsoft.com/office/drawing/2014/main" id="{E27B2DC0-6864-4AC2-8F24-BA4904DF6BAB}"/>
              </a:ext>
            </a:extLst>
          </p:cNvPr>
          <p:cNvCxnSpPr>
            <a:cxnSpLocks/>
          </p:cNvCxnSpPr>
          <p:nvPr/>
        </p:nvCxnSpPr>
        <p:spPr>
          <a:xfrm flipH="1">
            <a:off x="4074859" y="2978178"/>
            <a:ext cx="1" cy="1640501"/>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8632940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6594E8AD-4545-4B4E-BCC7-5FEB300FF481}"/>
              </a:ext>
            </a:extLst>
          </p:cNvPr>
          <p:cNvSpPr txBox="1">
            <a:spLocks/>
          </p:cNvSpPr>
          <p:nvPr/>
        </p:nvSpPr>
        <p:spPr>
          <a:xfrm>
            <a:off x="407988" y="404813"/>
            <a:ext cx="10944596" cy="865054"/>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Product Road Map</a:t>
            </a:r>
          </a:p>
        </p:txBody>
      </p:sp>
      <p:sp>
        <p:nvSpPr>
          <p:cNvPr id="18" name="Rectangle 17">
            <a:extLst>
              <a:ext uri="{FF2B5EF4-FFF2-40B4-BE49-F238E27FC236}">
                <a16:creationId xmlns:a16="http://schemas.microsoft.com/office/drawing/2014/main" id="{37391FC3-B8B4-4F63-BDC0-5A3057C9915E}"/>
              </a:ext>
            </a:extLst>
          </p:cNvPr>
          <p:cNvSpPr/>
          <p:nvPr/>
        </p:nvSpPr>
        <p:spPr>
          <a:xfrm>
            <a:off x="3063240" y="3098667"/>
            <a:ext cx="3017520" cy="182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u="sng" dirty="0"/>
              <a:t>Q3 2020</a:t>
            </a:r>
          </a:p>
          <a:p>
            <a:pPr algn="ctr"/>
            <a:endParaRPr lang="en-US" sz="1400" dirty="0"/>
          </a:p>
          <a:p>
            <a:pPr marL="285750" indent="-285750">
              <a:buFont typeface="Arial" panose="020B0604020202020204" pitchFamily="34" charset="0"/>
              <a:buChar char="•"/>
            </a:pPr>
            <a:r>
              <a:rPr lang="en-US" sz="1200" dirty="0"/>
              <a:t>Define Portal Architecture</a:t>
            </a:r>
          </a:p>
          <a:p>
            <a:pPr marL="285750" indent="-285750">
              <a:buFont typeface="Arial" panose="020B0604020202020204" pitchFamily="34" charset="0"/>
              <a:buChar char="•"/>
            </a:pPr>
            <a:r>
              <a:rPr lang="en-US" sz="1200" dirty="0"/>
              <a:t>Finalize Hosting Model</a:t>
            </a:r>
          </a:p>
          <a:p>
            <a:pPr marL="285750" indent="-285750">
              <a:buFont typeface="Arial" panose="020B0604020202020204" pitchFamily="34" charset="0"/>
              <a:buChar char="•"/>
            </a:pPr>
            <a:r>
              <a:rPr lang="en-US" sz="1200" dirty="0"/>
              <a:t>Estimate Budget</a:t>
            </a:r>
          </a:p>
          <a:p>
            <a:pPr marL="285750" indent="-285750">
              <a:buFont typeface="Arial" panose="020B0604020202020204" pitchFamily="34" charset="0"/>
              <a:buChar char="•"/>
            </a:pPr>
            <a:r>
              <a:rPr lang="en-US" sz="1200" dirty="0"/>
              <a:t>Create Functional Backlog</a:t>
            </a:r>
          </a:p>
          <a:p>
            <a:pPr marL="285750" indent="-285750">
              <a:buFont typeface="Arial" panose="020B0604020202020204" pitchFamily="34" charset="0"/>
              <a:buChar char="•"/>
            </a:pPr>
            <a:r>
              <a:rPr lang="en-US" sz="1200" dirty="0"/>
              <a:t>Soft Launch MVP </a:t>
            </a:r>
          </a:p>
          <a:p>
            <a:pPr marL="285750" indent="-285750">
              <a:buFont typeface="Arial" panose="020B0604020202020204" pitchFamily="34" charset="0"/>
              <a:buChar char="•"/>
            </a:pPr>
            <a:r>
              <a:rPr lang="en-US" sz="1200" dirty="0"/>
              <a:t>Analyze User Feedback on MVP</a:t>
            </a:r>
          </a:p>
        </p:txBody>
      </p:sp>
      <p:sp>
        <p:nvSpPr>
          <p:cNvPr id="27" name="Rectangle 26">
            <a:extLst>
              <a:ext uri="{FF2B5EF4-FFF2-40B4-BE49-F238E27FC236}">
                <a16:creationId xmlns:a16="http://schemas.microsoft.com/office/drawing/2014/main" id="{BBA83262-52FF-41C2-9F9E-0F6963F8F0B6}"/>
              </a:ext>
            </a:extLst>
          </p:cNvPr>
          <p:cNvSpPr/>
          <p:nvPr/>
        </p:nvSpPr>
        <p:spPr>
          <a:xfrm>
            <a:off x="6080760" y="2185588"/>
            <a:ext cx="3017520" cy="182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u="sng" dirty="0"/>
              <a:t>Q4 2020</a:t>
            </a:r>
          </a:p>
          <a:p>
            <a:pPr algn="ctr"/>
            <a:endParaRPr lang="en-US" sz="1400" dirty="0"/>
          </a:p>
          <a:p>
            <a:pPr marL="285750" indent="-285750">
              <a:buFont typeface="Arial" panose="020B0604020202020204" pitchFamily="34" charset="0"/>
              <a:buChar char="•"/>
            </a:pPr>
            <a:r>
              <a:rPr lang="en-US" sz="1200" dirty="0"/>
              <a:t>Launch v1.0</a:t>
            </a:r>
          </a:p>
          <a:p>
            <a:pPr marL="742950" lvl="1" indent="-285750">
              <a:buFont typeface="Wingdings" panose="05000000000000000000" pitchFamily="2" charset="2"/>
              <a:buChar char="Ø"/>
            </a:pPr>
            <a:r>
              <a:rPr lang="en-US" sz="1200" dirty="0"/>
              <a:t>MVP Functionality</a:t>
            </a:r>
          </a:p>
          <a:p>
            <a:pPr marL="742950" lvl="1" indent="-285750">
              <a:buFont typeface="Wingdings" panose="05000000000000000000" pitchFamily="2" charset="2"/>
              <a:buChar char="Ø"/>
            </a:pPr>
            <a:r>
              <a:rPr lang="en-US" sz="1200" dirty="0"/>
              <a:t>Integrated Sign-on</a:t>
            </a:r>
          </a:p>
          <a:p>
            <a:pPr marL="742950" lvl="1" indent="-285750">
              <a:buFont typeface="Wingdings" panose="05000000000000000000" pitchFamily="2" charset="2"/>
              <a:buChar char="Ø"/>
            </a:pPr>
            <a:r>
              <a:rPr lang="en-US" sz="1200" dirty="0" err="1"/>
              <a:t>Goodera</a:t>
            </a:r>
            <a:r>
              <a:rPr lang="en-US" sz="1200" dirty="0"/>
              <a:t> Integration</a:t>
            </a:r>
          </a:p>
          <a:p>
            <a:pPr marL="742950" lvl="1" indent="-285750">
              <a:buFont typeface="Wingdings" panose="05000000000000000000" pitchFamily="2" charset="2"/>
              <a:buChar char="Ø"/>
            </a:pPr>
            <a:r>
              <a:rPr lang="en-US" sz="1200" dirty="0"/>
              <a:t>Basic Dashboard</a:t>
            </a:r>
          </a:p>
          <a:p>
            <a:pPr marL="742950" lvl="1" indent="-285750">
              <a:buFont typeface="Wingdings" panose="05000000000000000000" pitchFamily="2" charset="2"/>
              <a:buChar char="Ø"/>
            </a:pPr>
            <a:r>
              <a:rPr lang="en-US" sz="1200" dirty="0"/>
              <a:t>Subscription, Alerts</a:t>
            </a:r>
          </a:p>
          <a:p>
            <a:pPr marL="285750" indent="-285750">
              <a:buFont typeface="Arial" panose="020B0604020202020204" pitchFamily="34" charset="0"/>
              <a:buChar char="•"/>
            </a:pPr>
            <a:endParaRPr lang="en-US" sz="1400" dirty="0"/>
          </a:p>
        </p:txBody>
      </p:sp>
      <p:sp>
        <p:nvSpPr>
          <p:cNvPr id="28" name="Rectangle 27">
            <a:extLst>
              <a:ext uri="{FF2B5EF4-FFF2-40B4-BE49-F238E27FC236}">
                <a16:creationId xmlns:a16="http://schemas.microsoft.com/office/drawing/2014/main" id="{12CBD6D4-BF5F-43AF-8834-AA24F2F203C0}"/>
              </a:ext>
            </a:extLst>
          </p:cNvPr>
          <p:cNvSpPr/>
          <p:nvPr/>
        </p:nvSpPr>
        <p:spPr>
          <a:xfrm>
            <a:off x="9098280" y="1269867"/>
            <a:ext cx="3017520" cy="182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u="sng" dirty="0"/>
              <a:t>H1 2021</a:t>
            </a:r>
          </a:p>
          <a:p>
            <a:pPr algn="ctr"/>
            <a:endParaRPr lang="en-US" sz="1400" dirty="0"/>
          </a:p>
          <a:p>
            <a:pPr marL="285750" indent="-285750">
              <a:buFont typeface="Arial" panose="020B0604020202020204" pitchFamily="34" charset="0"/>
              <a:buChar char="•"/>
            </a:pPr>
            <a:r>
              <a:rPr lang="en-US" sz="1200" dirty="0"/>
              <a:t>Launch v2.0</a:t>
            </a:r>
          </a:p>
          <a:p>
            <a:pPr marL="742950" lvl="1" indent="-285750">
              <a:buFont typeface="Wingdings" panose="05000000000000000000" pitchFamily="2" charset="2"/>
              <a:buChar char="Ø"/>
            </a:pPr>
            <a:r>
              <a:rPr lang="en-US" sz="1200" dirty="0"/>
              <a:t>Collaboration with Social Media</a:t>
            </a:r>
          </a:p>
          <a:p>
            <a:pPr marL="742950" lvl="1" indent="-285750">
              <a:buFont typeface="Wingdings" panose="05000000000000000000" pitchFamily="2" charset="2"/>
              <a:buChar char="Ø"/>
            </a:pPr>
            <a:r>
              <a:rPr lang="en-US" sz="1200" dirty="0"/>
              <a:t>Organization Reporting</a:t>
            </a:r>
          </a:p>
          <a:p>
            <a:pPr marL="742950" lvl="1" indent="-285750">
              <a:buFont typeface="Wingdings" panose="05000000000000000000" pitchFamily="2" charset="2"/>
              <a:buChar char="Ø"/>
            </a:pPr>
            <a:r>
              <a:rPr lang="en-US" sz="1200" dirty="0"/>
              <a:t>NGO Marketplace</a:t>
            </a:r>
          </a:p>
          <a:p>
            <a:pPr marL="742950" lvl="1" indent="-285750">
              <a:buFont typeface="Wingdings" panose="05000000000000000000" pitchFamily="2" charset="2"/>
              <a:buChar char="Ø"/>
            </a:pPr>
            <a:endParaRPr lang="en-US" sz="1200" dirty="0"/>
          </a:p>
        </p:txBody>
      </p:sp>
      <p:sp>
        <p:nvSpPr>
          <p:cNvPr id="29" name="Rectangle 28">
            <a:extLst>
              <a:ext uri="{FF2B5EF4-FFF2-40B4-BE49-F238E27FC236}">
                <a16:creationId xmlns:a16="http://schemas.microsoft.com/office/drawing/2014/main" id="{F3AD2A03-23C4-468D-BFB6-1EE282D39EE2}"/>
              </a:ext>
            </a:extLst>
          </p:cNvPr>
          <p:cNvSpPr/>
          <p:nvPr/>
        </p:nvSpPr>
        <p:spPr>
          <a:xfrm>
            <a:off x="45720" y="4011746"/>
            <a:ext cx="3017520" cy="2554154"/>
          </a:xfrm>
          <a:prstGeom prst="rect">
            <a:avLst/>
          </a:prstGeom>
          <a:solidFill>
            <a:srgbClr val="80B8D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u="sng" dirty="0">
                <a:solidFill>
                  <a:schemeClr val="tx1"/>
                </a:solidFill>
              </a:rPr>
              <a:t>Q2/Q3 2020 (MVP)</a:t>
            </a:r>
          </a:p>
          <a:p>
            <a:pPr algn="ctr"/>
            <a:endParaRPr lang="en-US" sz="1400" dirty="0">
              <a:solidFill>
                <a:schemeClr val="tx1"/>
              </a:solidFill>
            </a:endParaRPr>
          </a:p>
          <a:p>
            <a:pPr marL="285750" indent="-285750">
              <a:buFont typeface="Arial" panose="020B0604020202020204" pitchFamily="34" charset="0"/>
              <a:buChar char="•"/>
            </a:pPr>
            <a:r>
              <a:rPr lang="en-US" sz="1200" dirty="0">
                <a:solidFill>
                  <a:schemeClr val="tx1"/>
                </a:solidFill>
                <a:highlight>
                  <a:srgbClr val="FFFF00"/>
                </a:highlight>
              </a:rPr>
              <a:t>MVP 1 (Completed)</a:t>
            </a:r>
          </a:p>
          <a:p>
            <a:pPr marL="742950" lvl="1" indent="-285750">
              <a:buFont typeface="Wingdings" panose="05000000000000000000" pitchFamily="2" charset="2"/>
              <a:buChar char="Ø"/>
            </a:pPr>
            <a:r>
              <a:rPr lang="en-US" sz="1200" dirty="0">
                <a:solidFill>
                  <a:schemeClr val="tx1"/>
                </a:solidFill>
              </a:rPr>
              <a:t>Login/ Profile</a:t>
            </a:r>
          </a:p>
          <a:p>
            <a:pPr marL="742950" lvl="1" indent="-285750">
              <a:buFont typeface="Wingdings" panose="05000000000000000000" pitchFamily="2" charset="2"/>
              <a:buChar char="Ø"/>
            </a:pPr>
            <a:r>
              <a:rPr lang="en-US" sz="1200" dirty="0">
                <a:solidFill>
                  <a:schemeClr val="tx1"/>
                </a:solidFill>
              </a:rPr>
              <a:t>Challenge Creation/ Participation</a:t>
            </a:r>
          </a:p>
          <a:p>
            <a:pPr marL="285750" indent="-285750">
              <a:buFont typeface="Arial" panose="020B0604020202020204" pitchFamily="34" charset="0"/>
              <a:buChar char="•"/>
            </a:pPr>
            <a:r>
              <a:rPr lang="en-US" sz="1200" dirty="0">
                <a:solidFill>
                  <a:schemeClr val="tx1"/>
                </a:solidFill>
              </a:rPr>
              <a:t>MVP 2</a:t>
            </a:r>
          </a:p>
          <a:p>
            <a:pPr marL="742950" lvl="1" indent="-285750">
              <a:buFont typeface="Wingdings" panose="05000000000000000000" pitchFamily="2" charset="2"/>
              <a:buChar char="Ø"/>
            </a:pPr>
            <a:r>
              <a:rPr lang="en-US" sz="1200" dirty="0">
                <a:solidFill>
                  <a:schemeClr val="tx1"/>
                </a:solidFill>
              </a:rPr>
              <a:t>Notifications</a:t>
            </a:r>
          </a:p>
          <a:p>
            <a:pPr marL="742950" lvl="1" indent="-285750">
              <a:buFont typeface="Wingdings" panose="05000000000000000000" pitchFamily="2" charset="2"/>
              <a:buChar char="Ø"/>
            </a:pPr>
            <a:r>
              <a:rPr lang="en-US" sz="1200" dirty="0">
                <a:solidFill>
                  <a:schemeClr val="tx1"/>
                </a:solidFill>
              </a:rPr>
              <a:t>Scoring &amp; Impact</a:t>
            </a:r>
          </a:p>
          <a:p>
            <a:pPr marL="285750" indent="-285750">
              <a:buFont typeface="Arial" panose="020B0604020202020204" pitchFamily="34" charset="0"/>
              <a:buChar char="•"/>
            </a:pPr>
            <a:r>
              <a:rPr lang="en-US" sz="1200" dirty="0">
                <a:solidFill>
                  <a:schemeClr val="tx1"/>
                </a:solidFill>
              </a:rPr>
              <a:t>MVP 3</a:t>
            </a:r>
          </a:p>
          <a:p>
            <a:pPr marL="742950" lvl="1" indent="-285750">
              <a:buFont typeface="Wingdings" panose="05000000000000000000" pitchFamily="2" charset="2"/>
              <a:buChar char="Ø"/>
            </a:pPr>
            <a:r>
              <a:rPr lang="en-US" sz="1200" dirty="0">
                <a:solidFill>
                  <a:schemeClr val="tx1"/>
                </a:solidFill>
              </a:rPr>
              <a:t>Gamification</a:t>
            </a:r>
          </a:p>
        </p:txBody>
      </p:sp>
    </p:spTree>
    <p:extLst>
      <p:ext uri="{BB962C8B-B14F-4D97-AF65-F5344CB8AC3E}">
        <p14:creationId xmlns:p14="http://schemas.microsoft.com/office/powerpoint/2010/main" val="26992002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6594E8AD-4545-4B4E-BCC7-5FEB300FF481}"/>
              </a:ext>
            </a:extLst>
          </p:cNvPr>
          <p:cNvSpPr txBox="1">
            <a:spLocks/>
          </p:cNvSpPr>
          <p:nvPr/>
        </p:nvSpPr>
        <p:spPr>
          <a:xfrm>
            <a:off x="407988" y="404813"/>
            <a:ext cx="10944596" cy="865054"/>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Indicative Hardware Hosting Charges</a:t>
            </a:r>
          </a:p>
        </p:txBody>
      </p:sp>
      <p:pic>
        <p:nvPicPr>
          <p:cNvPr id="27" name="Picture 26">
            <a:extLst>
              <a:ext uri="{FF2B5EF4-FFF2-40B4-BE49-F238E27FC236}">
                <a16:creationId xmlns:a16="http://schemas.microsoft.com/office/drawing/2014/main" id="{5A28542C-88E5-4C5B-B7AA-75859FF7D030}"/>
              </a:ext>
            </a:extLst>
          </p:cNvPr>
          <p:cNvPicPr>
            <a:picLocks noChangeAspect="1"/>
          </p:cNvPicPr>
          <p:nvPr/>
        </p:nvPicPr>
        <p:blipFill>
          <a:blip r:embed="rId2"/>
          <a:stretch>
            <a:fillRect/>
          </a:stretch>
        </p:blipFill>
        <p:spPr>
          <a:xfrm>
            <a:off x="485465" y="1269867"/>
            <a:ext cx="11298547" cy="4874259"/>
          </a:xfrm>
          <a:prstGeom prst="rect">
            <a:avLst/>
          </a:prstGeom>
        </p:spPr>
      </p:pic>
    </p:spTree>
    <p:extLst>
      <p:ext uri="{BB962C8B-B14F-4D97-AF65-F5344CB8AC3E}">
        <p14:creationId xmlns:p14="http://schemas.microsoft.com/office/powerpoint/2010/main" val="33350797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clock&#10;&#10;Description automatically generated">
            <a:extLst>
              <a:ext uri="{FF2B5EF4-FFF2-40B4-BE49-F238E27FC236}">
                <a16:creationId xmlns:a16="http://schemas.microsoft.com/office/drawing/2014/main" id="{31AD4545-2FDE-4A4A-A033-ADEA45BAEF61}"/>
              </a:ext>
            </a:extLst>
          </p:cNvPr>
          <p:cNvPicPr>
            <a:picLocks noChangeAspect="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66274" y="5486400"/>
            <a:ext cx="914400" cy="914400"/>
          </a:xfrm>
          <a:prstGeom prst="rect">
            <a:avLst/>
          </a:prstGeom>
        </p:spPr>
      </p:pic>
      <p:pic>
        <p:nvPicPr>
          <p:cNvPr id="5" name="Picture 4" descr="A picture containing clock&#10;&#10;Description automatically generated">
            <a:extLst>
              <a:ext uri="{FF2B5EF4-FFF2-40B4-BE49-F238E27FC236}">
                <a16:creationId xmlns:a16="http://schemas.microsoft.com/office/drawing/2014/main" id="{9F8DCF2F-AC91-4F57-8288-05B4998E874A}"/>
              </a:ext>
            </a:extLst>
          </p:cNvPr>
          <p:cNvPicPr>
            <a:picLocks noChangeAspect="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780674" y="5486400"/>
            <a:ext cx="914400" cy="914400"/>
          </a:xfrm>
          <a:prstGeom prst="rect">
            <a:avLst/>
          </a:prstGeom>
        </p:spPr>
      </p:pic>
      <p:pic>
        <p:nvPicPr>
          <p:cNvPr id="6" name="Picture 5" descr="A picture containing clock&#10;&#10;Description automatically generated">
            <a:extLst>
              <a:ext uri="{FF2B5EF4-FFF2-40B4-BE49-F238E27FC236}">
                <a16:creationId xmlns:a16="http://schemas.microsoft.com/office/drawing/2014/main" id="{69D0D01F-F0A2-4171-8003-5150D99E6EEC}"/>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695074" y="5486400"/>
            <a:ext cx="914400" cy="914400"/>
          </a:xfrm>
          <a:prstGeom prst="rect">
            <a:avLst/>
          </a:prstGeom>
        </p:spPr>
      </p:pic>
      <p:pic>
        <p:nvPicPr>
          <p:cNvPr id="7" name="Picture 6" descr="A picture containing clock&#10;&#10;Description automatically generated">
            <a:extLst>
              <a:ext uri="{FF2B5EF4-FFF2-40B4-BE49-F238E27FC236}">
                <a16:creationId xmlns:a16="http://schemas.microsoft.com/office/drawing/2014/main" id="{DF2B70F9-3D33-48F0-B27C-62DBE5F87A9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609474" y="5486400"/>
            <a:ext cx="914400" cy="914400"/>
          </a:xfrm>
          <a:prstGeom prst="rect">
            <a:avLst/>
          </a:prstGeom>
        </p:spPr>
      </p:pic>
      <p:pic>
        <p:nvPicPr>
          <p:cNvPr id="8" name="Picture 7" descr="A picture containing clock&#10;&#10;Description automatically generated">
            <a:extLst>
              <a:ext uri="{FF2B5EF4-FFF2-40B4-BE49-F238E27FC236}">
                <a16:creationId xmlns:a16="http://schemas.microsoft.com/office/drawing/2014/main" id="{3161DB80-E724-4D0A-A438-FB0AB1512915}"/>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523874" y="5486400"/>
            <a:ext cx="914400" cy="914400"/>
          </a:xfrm>
          <a:prstGeom prst="rect">
            <a:avLst/>
          </a:prstGeom>
        </p:spPr>
      </p:pic>
      <p:pic>
        <p:nvPicPr>
          <p:cNvPr id="9" name="Picture 8" descr="A picture containing clock&#10;&#10;Description automatically generated">
            <a:extLst>
              <a:ext uri="{FF2B5EF4-FFF2-40B4-BE49-F238E27FC236}">
                <a16:creationId xmlns:a16="http://schemas.microsoft.com/office/drawing/2014/main" id="{F00DE21F-6EE2-44D9-B14D-4B486D7B6201}"/>
              </a:ext>
            </a:extLst>
          </p:cNvPr>
          <p:cNvPicPr>
            <a:picLocks noChangeAspect="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438274" y="5486400"/>
            <a:ext cx="914400" cy="914400"/>
          </a:xfrm>
          <a:prstGeom prst="rect">
            <a:avLst/>
          </a:prstGeom>
        </p:spPr>
      </p:pic>
      <p:pic>
        <p:nvPicPr>
          <p:cNvPr id="11" name="Picture 10" descr="A close up of a logo&#10;&#10;Description automatically generated">
            <a:extLst>
              <a:ext uri="{FF2B5EF4-FFF2-40B4-BE49-F238E27FC236}">
                <a16:creationId xmlns:a16="http://schemas.microsoft.com/office/drawing/2014/main" id="{2EAA0FE0-00D2-43F2-868A-D5714EAB029B}"/>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3140590" y="4193663"/>
            <a:ext cx="914400" cy="914400"/>
          </a:xfrm>
          <a:prstGeom prst="rect">
            <a:avLst/>
          </a:prstGeom>
        </p:spPr>
      </p:pic>
      <p:pic>
        <p:nvPicPr>
          <p:cNvPr id="14" name="Picture 13" descr="A close up of a logo&#10;&#10;Description automatically generated">
            <a:extLst>
              <a:ext uri="{FF2B5EF4-FFF2-40B4-BE49-F238E27FC236}">
                <a16:creationId xmlns:a16="http://schemas.microsoft.com/office/drawing/2014/main" id="{059EFD1D-0D61-46C1-94F3-CF58CD3D53A8}"/>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8137012" y="4193663"/>
            <a:ext cx="912971" cy="914400"/>
          </a:xfrm>
          <a:prstGeom prst="rect">
            <a:avLst/>
          </a:prstGeom>
        </p:spPr>
      </p:pic>
      <p:sp>
        <p:nvSpPr>
          <p:cNvPr id="23" name="TextBox 22">
            <a:extLst>
              <a:ext uri="{FF2B5EF4-FFF2-40B4-BE49-F238E27FC236}">
                <a16:creationId xmlns:a16="http://schemas.microsoft.com/office/drawing/2014/main" id="{32A5CC2E-5A09-4438-B0F5-0B0AA4AAACFC}"/>
              </a:ext>
            </a:extLst>
          </p:cNvPr>
          <p:cNvSpPr txBox="1"/>
          <p:nvPr/>
        </p:nvSpPr>
        <p:spPr>
          <a:xfrm>
            <a:off x="8531034" y="3753010"/>
            <a:ext cx="2286000" cy="307777"/>
          </a:xfrm>
          <a:prstGeom prst="rect">
            <a:avLst/>
          </a:prstGeom>
          <a:noFill/>
        </p:spPr>
        <p:txBody>
          <a:bodyPr wrap="square" rtlCol="0">
            <a:spAutoFit/>
          </a:bodyPr>
          <a:lstStyle/>
          <a:p>
            <a:pPr algn="ctr"/>
            <a:r>
              <a:rPr lang="en-US" sz="1400" dirty="0"/>
              <a:t>Product Team</a:t>
            </a:r>
          </a:p>
        </p:txBody>
      </p:sp>
      <p:sp>
        <p:nvSpPr>
          <p:cNvPr id="24" name="TextBox 23">
            <a:extLst>
              <a:ext uri="{FF2B5EF4-FFF2-40B4-BE49-F238E27FC236}">
                <a16:creationId xmlns:a16="http://schemas.microsoft.com/office/drawing/2014/main" id="{60800961-6EBA-40FE-806D-049F4BB5CD0A}"/>
              </a:ext>
            </a:extLst>
          </p:cNvPr>
          <p:cNvSpPr txBox="1"/>
          <p:nvPr/>
        </p:nvSpPr>
        <p:spPr>
          <a:xfrm>
            <a:off x="2860174" y="3753010"/>
            <a:ext cx="1498600" cy="307777"/>
          </a:xfrm>
          <a:prstGeom prst="rect">
            <a:avLst/>
          </a:prstGeom>
          <a:noFill/>
        </p:spPr>
        <p:txBody>
          <a:bodyPr wrap="square" rtlCol="0">
            <a:spAutoFit/>
          </a:bodyPr>
          <a:lstStyle/>
          <a:p>
            <a:pPr algn="ctr"/>
            <a:r>
              <a:rPr lang="en-US" sz="1400" dirty="0"/>
              <a:t>Dev Team</a:t>
            </a:r>
          </a:p>
        </p:txBody>
      </p:sp>
      <p:cxnSp>
        <p:nvCxnSpPr>
          <p:cNvPr id="26" name="Straight Connector 25">
            <a:extLst>
              <a:ext uri="{FF2B5EF4-FFF2-40B4-BE49-F238E27FC236}">
                <a16:creationId xmlns:a16="http://schemas.microsoft.com/office/drawing/2014/main" id="{39D5D3E2-6E57-488B-9120-23756DE93CAD}"/>
              </a:ext>
            </a:extLst>
          </p:cNvPr>
          <p:cNvCxnSpPr>
            <a:stCxn id="11" idx="2"/>
            <a:endCxn id="3" idx="0"/>
          </p:cNvCxnSpPr>
          <p:nvPr/>
        </p:nvCxnSpPr>
        <p:spPr>
          <a:xfrm rot="5400000">
            <a:off x="2271464" y="4160073"/>
            <a:ext cx="378337" cy="227431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1CFCB2-69D4-4629-B6F2-9A64ED9E6516}"/>
              </a:ext>
            </a:extLst>
          </p:cNvPr>
          <p:cNvCxnSpPr>
            <a:cxnSpLocks/>
            <a:stCxn id="11" idx="2"/>
            <a:endCxn id="5" idx="0"/>
          </p:cNvCxnSpPr>
          <p:nvPr/>
        </p:nvCxnSpPr>
        <p:spPr>
          <a:xfrm rot="5400000">
            <a:off x="2728664" y="4617273"/>
            <a:ext cx="378337" cy="135991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E4462F7-990B-43A1-85EC-A8723AD6A82D}"/>
              </a:ext>
            </a:extLst>
          </p:cNvPr>
          <p:cNvCxnSpPr>
            <a:cxnSpLocks/>
            <a:stCxn id="11" idx="2"/>
            <a:endCxn id="6" idx="0"/>
          </p:cNvCxnSpPr>
          <p:nvPr/>
        </p:nvCxnSpPr>
        <p:spPr>
          <a:xfrm rot="5400000">
            <a:off x="3185864" y="5074473"/>
            <a:ext cx="378337" cy="44551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45A73A4-4E50-4EC7-B5E5-4B54C6676525}"/>
              </a:ext>
            </a:extLst>
          </p:cNvPr>
          <p:cNvCxnSpPr>
            <a:cxnSpLocks/>
            <a:stCxn id="11" idx="2"/>
            <a:endCxn id="7" idx="0"/>
          </p:cNvCxnSpPr>
          <p:nvPr/>
        </p:nvCxnSpPr>
        <p:spPr>
          <a:xfrm rot="16200000" flipH="1">
            <a:off x="3643064" y="5062789"/>
            <a:ext cx="378337" cy="4688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9A31EC6-2DB8-4D49-B227-2776E2A32244}"/>
              </a:ext>
            </a:extLst>
          </p:cNvPr>
          <p:cNvCxnSpPr>
            <a:cxnSpLocks/>
            <a:stCxn id="11" idx="2"/>
            <a:endCxn id="8" idx="0"/>
          </p:cNvCxnSpPr>
          <p:nvPr/>
        </p:nvCxnSpPr>
        <p:spPr>
          <a:xfrm rot="16200000" flipH="1">
            <a:off x="4100264" y="4605589"/>
            <a:ext cx="378337" cy="13832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C0BB6C5-95E9-4275-8040-FD84F8B83D25}"/>
              </a:ext>
            </a:extLst>
          </p:cNvPr>
          <p:cNvCxnSpPr>
            <a:cxnSpLocks/>
            <a:stCxn id="11" idx="2"/>
            <a:endCxn id="9" idx="0"/>
          </p:cNvCxnSpPr>
          <p:nvPr/>
        </p:nvCxnSpPr>
        <p:spPr>
          <a:xfrm rot="16200000" flipH="1">
            <a:off x="4557464" y="4148389"/>
            <a:ext cx="378337" cy="229768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D1753EF3-D56A-4165-9850-92DA8CFE039C}"/>
              </a:ext>
            </a:extLst>
          </p:cNvPr>
          <p:cNvSpPr txBox="1"/>
          <p:nvPr/>
        </p:nvSpPr>
        <p:spPr>
          <a:xfrm>
            <a:off x="1385707" y="6425883"/>
            <a:ext cx="731520" cy="369332"/>
          </a:xfrm>
          <a:prstGeom prst="rect">
            <a:avLst/>
          </a:prstGeom>
          <a:noFill/>
        </p:spPr>
        <p:txBody>
          <a:bodyPr wrap="square" rtlCol="0">
            <a:spAutoFit/>
          </a:bodyPr>
          <a:lstStyle/>
          <a:p>
            <a:pPr algn="ctr"/>
            <a:r>
              <a:rPr lang="en-US" dirty="0"/>
              <a:t>AIE</a:t>
            </a:r>
          </a:p>
        </p:txBody>
      </p:sp>
      <p:sp>
        <p:nvSpPr>
          <p:cNvPr id="43" name="TextBox 42">
            <a:extLst>
              <a:ext uri="{FF2B5EF4-FFF2-40B4-BE49-F238E27FC236}">
                <a16:creationId xmlns:a16="http://schemas.microsoft.com/office/drawing/2014/main" id="{AE4680A9-F5B7-40B3-8E73-9C855566B59D}"/>
              </a:ext>
            </a:extLst>
          </p:cNvPr>
          <p:cNvSpPr txBox="1"/>
          <p:nvPr/>
        </p:nvSpPr>
        <p:spPr>
          <a:xfrm>
            <a:off x="8025453" y="5556960"/>
            <a:ext cx="3838074" cy="369332"/>
          </a:xfrm>
          <a:prstGeom prst="rect">
            <a:avLst/>
          </a:prstGeom>
          <a:noFill/>
        </p:spPr>
        <p:txBody>
          <a:bodyPr wrap="square" rtlCol="0">
            <a:spAutoFit/>
          </a:bodyPr>
          <a:lstStyle/>
          <a:p>
            <a:pPr algn="ctr"/>
            <a:r>
              <a:rPr lang="en-US" dirty="0"/>
              <a:t>FS &amp; Group CSR Team</a:t>
            </a:r>
          </a:p>
        </p:txBody>
      </p:sp>
      <p:sp>
        <p:nvSpPr>
          <p:cNvPr id="44" name="Rectangle 43">
            <a:extLst>
              <a:ext uri="{FF2B5EF4-FFF2-40B4-BE49-F238E27FC236}">
                <a16:creationId xmlns:a16="http://schemas.microsoft.com/office/drawing/2014/main" id="{B8B61F3E-E95E-4913-B7CD-7DB07543FF71}"/>
              </a:ext>
            </a:extLst>
          </p:cNvPr>
          <p:cNvSpPr/>
          <p:nvPr/>
        </p:nvSpPr>
        <p:spPr>
          <a:xfrm>
            <a:off x="736600" y="2262682"/>
            <a:ext cx="10782300" cy="9002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t>Governance Body</a:t>
            </a:r>
          </a:p>
        </p:txBody>
      </p:sp>
      <p:sp>
        <p:nvSpPr>
          <p:cNvPr id="45" name="Title 1">
            <a:extLst>
              <a:ext uri="{FF2B5EF4-FFF2-40B4-BE49-F238E27FC236}">
                <a16:creationId xmlns:a16="http://schemas.microsoft.com/office/drawing/2014/main" id="{2B2AA89F-98FD-4261-9C0F-BE8AFF0D2784}"/>
              </a:ext>
            </a:extLst>
          </p:cNvPr>
          <p:cNvSpPr txBox="1">
            <a:spLocks/>
          </p:cNvSpPr>
          <p:nvPr/>
        </p:nvSpPr>
        <p:spPr>
          <a:xfrm>
            <a:off x="407988" y="404813"/>
            <a:ext cx="10944596" cy="865054"/>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Proposed Team Structure</a:t>
            </a:r>
          </a:p>
        </p:txBody>
      </p:sp>
      <p:cxnSp>
        <p:nvCxnSpPr>
          <p:cNvPr id="47" name="Straight Connector 46">
            <a:extLst>
              <a:ext uri="{FF2B5EF4-FFF2-40B4-BE49-F238E27FC236}">
                <a16:creationId xmlns:a16="http://schemas.microsoft.com/office/drawing/2014/main" id="{7016E85B-CE22-4797-8BC0-308AC5B5B9B1}"/>
              </a:ext>
            </a:extLst>
          </p:cNvPr>
          <p:cNvCxnSpPr>
            <a:cxnSpLocks/>
            <a:stCxn id="44" idx="2"/>
            <a:endCxn id="24" idx="0"/>
          </p:cNvCxnSpPr>
          <p:nvPr/>
        </p:nvCxnSpPr>
        <p:spPr>
          <a:xfrm rot="5400000">
            <a:off x="4573574" y="2198834"/>
            <a:ext cx="590076" cy="2518276"/>
          </a:xfrm>
          <a:prstGeom prst="bentConnector3">
            <a:avLst>
              <a:gd name="adj1" fmla="val 50000"/>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B6126FB-7FE6-4275-9EAE-03F226F41461}"/>
              </a:ext>
            </a:extLst>
          </p:cNvPr>
          <p:cNvCxnSpPr>
            <a:cxnSpLocks/>
            <a:stCxn id="44" idx="2"/>
            <a:endCxn id="23" idx="0"/>
          </p:cNvCxnSpPr>
          <p:nvPr/>
        </p:nvCxnSpPr>
        <p:spPr>
          <a:xfrm rot="16200000" flipH="1">
            <a:off x="7605854" y="1684830"/>
            <a:ext cx="590076" cy="3546284"/>
          </a:xfrm>
          <a:prstGeom prst="bentConnector3">
            <a:avLst>
              <a:gd name="adj1" fmla="val 50000"/>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13FF90F6-A4A8-41A2-9FE7-3EE790954363}"/>
              </a:ext>
            </a:extLst>
          </p:cNvPr>
          <p:cNvSpPr txBox="1"/>
          <p:nvPr/>
        </p:nvSpPr>
        <p:spPr>
          <a:xfrm>
            <a:off x="1155700" y="2675286"/>
            <a:ext cx="2910974" cy="307777"/>
          </a:xfrm>
          <a:prstGeom prst="rect">
            <a:avLst/>
          </a:prstGeom>
          <a:solidFill>
            <a:schemeClr val="bg1"/>
          </a:solidFill>
        </p:spPr>
        <p:txBody>
          <a:bodyPr wrap="square" rtlCol="0">
            <a:spAutoFit/>
          </a:bodyPr>
          <a:lstStyle/>
          <a:p>
            <a:pPr algn="ctr"/>
            <a:r>
              <a:rPr lang="en-US" sz="1400" dirty="0"/>
              <a:t>Prabakaran  Karuppiah</a:t>
            </a:r>
          </a:p>
        </p:txBody>
      </p:sp>
      <p:sp>
        <p:nvSpPr>
          <p:cNvPr id="53" name="TextBox 52">
            <a:extLst>
              <a:ext uri="{FF2B5EF4-FFF2-40B4-BE49-F238E27FC236}">
                <a16:creationId xmlns:a16="http://schemas.microsoft.com/office/drawing/2014/main" id="{883760D9-F24B-4133-A820-837FBA0F733E}"/>
              </a:ext>
            </a:extLst>
          </p:cNvPr>
          <p:cNvSpPr txBox="1"/>
          <p:nvPr/>
        </p:nvSpPr>
        <p:spPr>
          <a:xfrm>
            <a:off x="4733424" y="2675286"/>
            <a:ext cx="2910974" cy="307777"/>
          </a:xfrm>
          <a:prstGeom prst="rect">
            <a:avLst/>
          </a:prstGeom>
          <a:solidFill>
            <a:schemeClr val="bg1"/>
          </a:solidFill>
        </p:spPr>
        <p:txBody>
          <a:bodyPr wrap="square" rtlCol="0">
            <a:spAutoFit/>
          </a:bodyPr>
          <a:lstStyle/>
          <a:p>
            <a:pPr algn="ctr"/>
            <a:r>
              <a:rPr lang="en-US" sz="1400" dirty="0"/>
              <a:t>Amit Choudhary</a:t>
            </a:r>
          </a:p>
        </p:txBody>
      </p:sp>
      <p:sp>
        <p:nvSpPr>
          <p:cNvPr id="54" name="TextBox 53">
            <a:extLst>
              <a:ext uri="{FF2B5EF4-FFF2-40B4-BE49-F238E27FC236}">
                <a16:creationId xmlns:a16="http://schemas.microsoft.com/office/drawing/2014/main" id="{CFFB9AFB-0594-40D8-9D26-52E78673D153}"/>
              </a:ext>
            </a:extLst>
          </p:cNvPr>
          <p:cNvSpPr txBox="1"/>
          <p:nvPr/>
        </p:nvSpPr>
        <p:spPr>
          <a:xfrm>
            <a:off x="8311148" y="2675286"/>
            <a:ext cx="2910974" cy="307777"/>
          </a:xfrm>
          <a:prstGeom prst="rect">
            <a:avLst/>
          </a:prstGeom>
          <a:solidFill>
            <a:schemeClr val="bg1"/>
          </a:solidFill>
        </p:spPr>
        <p:txBody>
          <a:bodyPr wrap="square" rtlCol="0">
            <a:spAutoFit/>
          </a:bodyPr>
          <a:lstStyle/>
          <a:p>
            <a:pPr algn="ctr"/>
            <a:r>
              <a:rPr lang="en-US" sz="1400" dirty="0"/>
              <a:t>Tangi Le Noc</a:t>
            </a:r>
          </a:p>
        </p:txBody>
      </p:sp>
      <p:sp>
        <p:nvSpPr>
          <p:cNvPr id="55" name="TextBox 54">
            <a:extLst>
              <a:ext uri="{FF2B5EF4-FFF2-40B4-BE49-F238E27FC236}">
                <a16:creationId xmlns:a16="http://schemas.microsoft.com/office/drawing/2014/main" id="{8F05F74C-C373-4AB2-A3BD-76F3A8B668F4}"/>
              </a:ext>
            </a:extLst>
          </p:cNvPr>
          <p:cNvSpPr txBox="1"/>
          <p:nvPr/>
        </p:nvSpPr>
        <p:spPr>
          <a:xfrm>
            <a:off x="7790003" y="5144979"/>
            <a:ext cx="1606988" cy="307777"/>
          </a:xfrm>
          <a:prstGeom prst="rect">
            <a:avLst/>
          </a:prstGeom>
          <a:noFill/>
        </p:spPr>
        <p:txBody>
          <a:bodyPr wrap="square" rtlCol="0">
            <a:spAutoFit/>
          </a:bodyPr>
          <a:lstStyle/>
          <a:p>
            <a:pPr algn="ctr"/>
            <a:r>
              <a:rPr lang="en-US" sz="1400" dirty="0"/>
              <a:t>Cecile &amp; Team</a:t>
            </a:r>
          </a:p>
        </p:txBody>
      </p:sp>
      <p:sp>
        <p:nvSpPr>
          <p:cNvPr id="56" name="TextBox 55">
            <a:extLst>
              <a:ext uri="{FF2B5EF4-FFF2-40B4-BE49-F238E27FC236}">
                <a16:creationId xmlns:a16="http://schemas.microsoft.com/office/drawing/2014/main" id="{42BB7F32-0566-4085-9104-09E964F0C7E5}"/>
              </a:ext>
            </a:extLst>
          </p:cNvPr>
          <p:cNvSpPr txBox="1"/>
          <p:nvPr/>
        </p:nvSpPr>
        <p:spPr>
          <a:xfrm>
            <a:off x="10123419" y="5178623"/>
            <a:ext cx="1898372" cy="307777"/>
          </a:xfrm>
          <a:prstGeom prst="rect">
            <a:avLst/>
          </a:prstGeom>
          <a:noFill/>
        </p:spPr>
        <p:txBody>
          <a:bodyPr wrap="square" rtlCol="0">
            <a:spAutoFit/>
          </a:bodyPr>
          <a:lstStyle/>
          <a:p>
            <a:r>
              <a:rPr lang="en-US" sz="1400" dirty="0"/>
              <a:t>Soumya &amp; Team</a:t>
            </a:r>
          </a:p>
        </p:txBody>
      </p:sp>
      <p:pic>
        <p:nvPicPr>
          <p:cNvPr id="57" name="Picture 56" descr="A close up of a logo&#10;&#10;Description automatically generated">
            <a:extLst>
              <a:ext uri="{FF2B5EF4-FFF2-40B4-BE49-F238E27FC236}">
                <a16:creationId xmlns:a16="http://schemas.microsoft.com/office/drawing/2014/main" id="{00270194-8FD2-4E39-8CAC-D7752C4D0569}"/>
              </a:ext>
            </a:extLst>
          </p:cNvPr>
          <p:cNvPicPr>
            <a:picLocks noChangeAspect="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10616120" y="4193663"/>
            <a:ext cx="912971" cy="914400"/>
          </a:xfrm>
          <a:prstGeom prst="rect">
            <a:avLst/>
          </a:prstGeom>
        </p:spPr>
      </p:pic>
      <p:sp>
        <p:nvSpPr>
          <p:cNvPr id="59" name="TextBox 58">
            <a:extLst>
              <a:ext uri="{FF2B5EF4-FFF2-40B4-BE49-F238E27FC236}">
                <a16:creationId xmlns:a16="http://schemas.microsoft.com/office/drawing/2014/main" id="{06042850-EFA0-4B2D-A19B-9B2529E0F6AC}"/>
              </a:ext>
            </a:extLst>
          </p:cNvPr>
          <p:cNvSpPr txBox="1"/>
          <p:nvPr/>
        </p:nvSpPr>
        <p:spPr>
          <a:xfrm>
            <a:off x="3980173" y="4623093"/>
            <a:ext cx="1394662" cy="307777"/>
          </a:xfrm>
          <a:prstGeom prst="rect">
            <a:avLst/>
          </a:prstGeom>
          <a:noFill/>
        </p:spPr>
        <p:txBody>
          <a:bodyPr wrap="square" rtlCol="0">
            <a:spAutoFit/>
          </a:bodyPr>
          <a:lstStyle/>
          <a:p>
            <a:r>
              <a:rPr lang="en-US" sz="1400" dirty="0"/>
              <a:t>Kunal/ Isaac</a:t>
            </a:r>
          </a:p>
        </p:txBody>
      </p:sp>
      <p:sp>
        <p:nvSpPr>
          <p:cNvPr id="34" name="TextBox 33">
            <a:extLst>
              <a:ext uri="{FF2B5EF4-FFF2-40B4-BE49-F238E27FC236}">
                <a16:creationId xmlns:a16="http://schemas.microsoft.com/office/drawing/2014/main" id="{3DF78F03-6EA6-4D4F-8F0A-FE8887EB251F}"/>
              </a:ext>
            </a:extLst>
          </p:cNvPr>
          <p:cNvSpPr txBox="1"/>
          <p:nvPr/>
        </p:nvSpPr>
        <p:spPr>
          <a:xfrm>
            <a:off x="3149480" y="6425883"/>
            <a:ext cx="1811020" cy="369332"/>
          </a:xfrm>
          <a:prstGeom prst="rect">
            <a:avLst/>
          </a:prstGeom>
          <a:noFill/>
        </p:spPr>
        <p:txBody>
          <a:bodyPr wrap="square" rtlCol="0">
            <a:spAutoFit/>
          </a:bodyPr>
          <a:lstStyle/>
          <a:p>
            <a:pPr algn="ctr"/>
            <a:r>
              <a:rPr lang="en-US" dirty="0"/>
              <a:t>Code Factory</a:t>
            </a:r>
          </a:p>
        </p:txBody>
      </p:sp>
      <p:sp>
        <p:nvSpPr>
          <p:cNvPr id="46" name="Rectangle 45">
            <a:extLst>
              <a:ext uri="{FF2B5EF4-FFF2-40B4-BE49-F238E27FC236}">
                <a16:creationId xmlns:a16="http://schemas.microsoft.com/office/drawing/2014/main" id="{05D2E2D3-1094-4D72-AED3-3F9DD0657252}"/>
              </a:ext>
            </a:extLst>
          </p:cNvPr>
          <p:cNvSpPr/>
          <p:nvPr/>
        </p:nvSpPr>
        <p:spPr>
          <a:xfrm>
            <a:off x="736600" y="1068391"/>
            <a:ext cx="10782300" cy="900252"/>
          </a:xfrm>
          <a:prstGeom prst="rect">
            <a:avLst/>
          </a:prstGeom>
          <a:solidFill>
            <a:srgbClr val="00C37B"/>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t>Executive Sponsors</a:t>
            </a:r>
          </a:p>
        </p:txBody>
      </p:sp>
      <p:sp>
        <p:nvSpPr>
          <p:cNvPr id="49" name="TextBox 48">
            <a:extLst>
              <a:ext uri="{FF2B5EF4-FFF2-40B4-BE49-F238E27FC236}">
                <a16:creationId xmlns:a16="http://schemas.microsoft.com/office/drawing/2014/main" id="{1538BD02-ED0B-4BB4-B9FB-4AB692870094}"/>
              </a:ext>
            </a:extLst>
          </p:cNvPr>
          <p:cNvSpPr txBox="1"/>
          <p:nvPr/>
        </p:nvSpPr>
        <p:spPr>
          <a:xfrm>
            <a:off x="1155700" y="1480995"/>
            <a:ext cx="2910974" cy="307777"/>
          </a:xfrm>
          <a:prstGeom prst="rect">
            <a:avLst/>
          </a:prstGeom>
          <a:solidFill>
            <a:schemeClr val="bg1"/>
          </a:solidFill>
        </p:spPr>
        <p:txBody>
          <a:bodyPr wrap="square" rtlCol="0">
            <a:spAutoFit/>
          </a:bodyPr>
          <a:lstStyle/>
          <a:p>
            <a:pPr algn="ctr"/>
            <a:r>
              <a:rPr lang="en-US" sz="1400" dirty="0"/>
              <a:t>Amit Choudhary</a:t>
            </a:r>
          </a:p>
        </p:txBody>
      </p:sp>
      <p:sp>
        <p:nvSpPr>
          <p:cNvPr id="50" name="TextBox 49">
            <a:extLst>
              <a:ext uri="{FF2B5EF4-FFF2-40B4-BE49-F238E27FC236}">
                <a16:creationId xmlns:a16="http://schemas.microsoft.com/office/drawing/2014/main" id="{3CC857D5-1B1A-446B-9933-B6585AE03595}"/>
              </a:ext>
            </a:extLst>
          </p:cNvPr>
          <p:cNvSpPr txBox="1"/>
          <p:nvPr/>
        </p:nvSpPr>
        <p:spPr>
          <a:xfrm>
            <a:off x="4733424" y="1480995"/>
            <a:ext cx="2910974" cy="307777"/>
          </a:xfrm>
          <a:prstGeom prst="rect">
            <a:avLst/>
          </a:prstGeom>
          <a:solidFill>
            <a:schemeClr val="bg1"/>
          </a:solidFill>
        </p:spPr>
        <p:txBody>
          <a:bodyPr wrap="square" rtlCol="0">
            <a:spAutoFit/>
          </a:bodyPr>
          <a:lstStyle/>
          <a:p>
            <a:pPr algn="ctr"/>
            <a:r>
              <a:rPr lang="en-US" sz="1400" dirty="0"/>
              <a:t>Stanislas De Roys</a:t>
            </a:r>
          </a:p>
        </p:txBody>
      </p:sp>
      <p:sp>
        <p:nvSpPr>
          <p:cNvPr id="51" name="TextBox 50">
            <a:extLst>
              <a:ext uri="{FF2B5EF4-FFF2-40B4-BE49-F238E27FC236}">
                <a16:creationId xmlns:a16="http://schemas.microsoft.com/office/drawing/2014/main" id="{ED74FF39-1345-45B3-8CB8-76642F178686}"/>
              </a:ext>
            </a:extLst>
          </p:cNvPr>
          <p:cNvSpPr txBox="1"/>
          <p:nvPr/>
        </p:nvSpPr>
        <p:spPr>
          <a:xfrm>
            <a:off x="8311148" y="1480995"/>
            <a:ext cx="2910974" cy="307777"/>
          </a:xfrm>
          <a:prstGeom prst="rect">
            <a:avLst/>
          </a:prstGeom>
          <a:solidFill>
            <a:schemeClr val="bg1"/>
          </a:solidFill>
        </p:spPr>
        <p:txBody>
          <a:bodyPr wrap="square" rtlCol="0">
            <a:spAutoFit/>
          </a:bodyPr>
          <a:lstStyle/>
          <a:p>
            <a:pPr algn="ctr"/>
            <a:r>
              <a:rPr lang="en-US" sz="1400" dirty="0"/>
              <a:t>Shobha Meera</a:t>
            </a:r>
          </a:p>
        </p:txBody>
      </p:sp>
      <p:sp>
        <p:nvSpPr>
          <p:cNvPr id="60" name="TextBox 59">
            <a:extLst>
              <a:ext uri="{FF2B5EF4-FFF2-40B4-BE49-F238E27FC236}">
                <a16:creationId xmlns:a16="http://schemas.microsoft.com/office/drawing/2014/main" id="{7AE086DA-BBFA-4252-A608-AEF9AE5DBE22}"/>
              </a:ext>
            </a:extLst>
          </p:cNvPr>
          <p:cNvSpPr txBox="1"/>
          <p:nvPr/>
        </p:nvSpPr>
        <p:spPr>
          <a:xfrm>
            <a:off x="4989964" y="6425883"/>
            <a:ext cx="1811020" cy="369332"/>
          </a:xfrm>
          <a:prstGeom prst="rect">
            <a:avLst/>
          </a:prstGeom>
          <a:noFill/>
        </p:spPr>
        <p:txBody>
          <a:bodyPr wrap="square" rtlCol="0">
            <a:spAutoFit/>
          </a:bodyPr>
          <a:lstStyle/>
          <a:p>
            <a:pPr algn="ctr"/>
            <a:r>
              <a:rPr lang="en-US" dirty="0"/>
              <a:t>EAS/DCX</a:t>
            </a:r>
          </a:p>
        </p:txBody>
      </p:sp>
      <p:cxnSp>
        <p:nvCxnSpPr>
          <p:cNvPr id="61" name="Straight Connector 47">
            <a:extLst>
              <a:ext uri="{FF2B5EF4-FFF2-40B4-BE49-F238E27FC236}">
                <a16:creationId xmlns:a16="http://schemas.microsoft.com/office/drawing/2014/main" id="{BF06E1D5-3275-4E2D-B1EE-94B08F8026DD}"/>
              </a:ext>
            </a:extLst>
          </p:cNvPr>
          <p:cNvCxnSpPr>
            <a:cxnSpLocks/>
            <a:stCxn id="46" idx="2"/>
            <a:endCxn id="44" idx="0"/>
          </p:cNvCxnSpPr>
          <p:nvPr/>
        </p:nvCxnSpPr>
        <p:spPr>
          <a:xfrm>
            <a:off x="6127750" y="1968643"/>
            <a:ext cx="0" cy="294039"/>
          </a:xfrm>
          <a:prstGeom prst="straightConnector1">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2048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4685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accent1"/>
          </a:solidFill>
        </a:ln>
      </a:spPr>
      <a:bodyPr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3C5CBC50-3B29-4F6F-BB78-DE10ED877615}" vid="{E273A8E5-CDBE-48B5-99CB-28E9A3952319}"/>
    </a:ext>
  </a:extLst>
</a:theme>
</file>

<file path=ppt/theme/theme3.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New Template" id="{F8CE5B4A-C4B8-443F-837E-DCEFA8F797D3}" vid="{887C7A46-0E9F-4410-A580-9FB7B5060E7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37DBA53F388F244BCCF645D35CA6C12" ma:contentTypeVersion="13" ma:contentTypeDescription="Create a new document." ma:contentTypeScope="" ma:versionID="8a91f01788e355fe36ec79894a20517c">
  <xsd:schema xmlns:xsd="http://www.w3.org/2001/XMLSchema" xmlns:xs="http://www.w3.org/2001/XMLSchema" xmlns:p="http://schemas.microsoft.com/office/2006/metadata/properties" xmlns:ns3="c6cd7f65-bdc6-4b1a-ba8e-47a0e55cee31" xmlns:ns4="d6f20b0f-4234-4e4f-b3fc-29bb0e2f17c3" targetNamespace="http://schemas.microsoft.com/office/2006/metadata/properties" ma:root="true" ma:fieldsID="ba81f2948f6f5730f09fad9969637367" ns3:_="" ns4:_="">
    <xsd:import namespace="c6cd7f65-bdc6-4b1a-ba8e-47a0e55cee31"/>
    <xsd:import namespace="d6f20b0f-4234-4e4f-b3fc-29bb0e2f17c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cd7f65-bdc6-4b1a-ba8e-47a0e55cee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6f20b0f-4234-4e4f-b3fc-29bb0e2f17c3"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246F0AE-2E39-414B-9B01-D76CBF8B57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6cd7f65-bdc6-4b1a-ba8e-47a0e55cee31"/>
    <ds:schemaRef ds:uri="d6f20b0f-4234-4e4f-b3fc-29bb0e2f17c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7C30C35-C7E4-4DA0-9265-4BF41B3F8478}">
  <ds:schemaRefs>
    <ds:schemaRef ds:uri="http://schemas.openxmlformats.org/package/2006/metadata/core-properties"/>
    <ds:schemaRef ds:uri="http://purl.org/dc/dcmitype/"/>
    <ds:schemaRef ds:uri="http://purl.org/dc/terms/"/>
    <ds:schemaRef ds:uri="http://schemas.microsoft.com/office/2006/documentManagement/types"/>
    <ds:schemaRef ds:uri="http://schemas.microsoft.com/office/2006/metadata/properties"/>
    <ds:schemaRef ds:uri="c6cd7f65-bdc6-4b1a-ba8e-47a0e55cee31"/>
    <ds:schemaRef ds:uri="http://purl.org/dc/elements/1.1/"/>
    <ds:schemaRef ds:uri="http://schemas.microsoft.com/office/infopath/2007/PartnerControls"/>
    <ds:schemaRef ds:uri="d6f20b0f-4234-4e4f-b3fc-29bb0e2f17c3"/>
    <ds:schemaRef ds:uri="http://www.w3.org/XML/1998/namespace"/>
  </ds:schemaRefs>
</ds:datastoreItem>
</file>

<file path=customXml/itemProps3.xml><?xml version="1.0" encoding="utf-8"?>
<ds:datastoreItem xmlns:ds="http://schemas.openxmlformats.org/officeDocument/2006/customXml" ds:itemID="{B1935588-8E1A-4818-A09E-CC91ABCA0F3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087</TotalTime>
  <Words>419</Words>
  <Application>Microsoft Office PowerPoint</Application>
  <PresentationFormat>Widescreen</PresentationFormat>
  <Paragraphs>127</Paragraphs>
  <Slides>9</Slides>
  <Notes>1</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9</vt:i4>
      </vt:variant>
    </vt:vector>
  </HeadingPairs>
  <TitlesOfParts>
    <vt:vector size="19" baseType="lpstr">
      <vt:lpstr>Arial</vt:lpstr>
      <vt:lpstr>Calibri</vt:lpstr>
      <vt:lpstr>Ubuntu</vt:lpstr>
      <vt:lpstr>Verdana</vt:lpstr>
      <vt:lpstr>Wingdings</vt:lpstr>
      <vt:lpstr>PPT Template</vt:lpstr>
      <vt:lpstr>Content Layouts</vt:lpstr>
      <vt:lpstr>1_Content Layouts</vt:lpstr>
      <vt:lpstr>1_Capgemini Master</vt:lpstr>
      <vt:lpstr>think-cell Slide</vt:lpstr>
      <vt:lpstr>Status Updates for  Mind the Cap Port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AP - Release Plan</dc:title>
  <dc:creator>Karuppiah, Prabakaran</dc:creator>
  <cp:lastModifiedBy>Kunal Banerjee</cp:lastModifiedBy>
  <cp:revision>281</cp:revision>
  <dcterms:created xsi:type="dcterms:W3CDTF">2019-09-14T11:43:43Z</dcterms:created>
  <dcterms:modified xsi:type="dcterms:W3CDTF">2020-06-30T12:3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7DBA53F388F244BCCF645D35CA6C12</vt:lpwstr>
  </property>
</Properties>
</file>